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webextensions/webextension1.xml" ContentType="application/vnd.ms-office.webextension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webextensions/taskpanes.xml" ContentType="application/vnd.ms-office.webextensiontaskpanes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9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16.xml" ContentType="application/vnd.openxmlformats-officedocument.presentationml.tags+xml"/>
  <Override PartName="/ppt/tags/tag10.xml" ContentType="application/vnd.openxmlformats-officedocument.presentationml.tags+xml"/>
  <Override PartName="/ppt/tags/tag17.xml" ContentType="application/vnd.openxmlformats-officedocument.presentationml.tags+xml"/>
  <Override PartName="/ppt/tags/tag8.xml" ContentType="application/vnd.openxmlformats-officedocument.presentationml.tag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33" r:id="rId1"/>
    <p:sldMasterId id="2147483799" r:id="rId2"/>
  </p:sldMasterIdLst>
  <p:notesMasterIdLst>
    <p:notesMasterId r:id="rId9"/>
  </p:notesMasterIdLst>
  <p:handoutMasterIdLst>
    <p:handoutMasterId r:id="rId10"/>
  </p:handoutMasterIdLst>
  <p:sldIdLst>
    <p:sldId id="257" r:id="rId3"/>
    <p:sldId id="256" r:id="rId4"/>
    <p:sldId id="267" r:id="rId5"/>
    <p:sldId id="266" r:id="rId6"/>
    <p:sldId id="269" r:id="rId7"/>
    <p:sldId id="268" r:id="rId8"/>
  </p:sldIdLst>
  <p:sldSz cx="12190413" cy="6859588"/>
  <p:notesSz cx="6858000" cy="9144000"/>
  <p:custDataLst>
    <p:tags r:id="rId11"/>
  </p:custDataLst>
  <p:defaultTextStyle>
    <a:defPPr>
      <a:defRPr lang="en-US"/>
    </a:defPPr>
    <a:lvl1pPr marL="0" indent="0" algn="l" defTabSz="457189" rtl="0" eaLnBrk="1" fontAlgn="base" hangingPunct="1">
      <a:lnSpc>
        <a:spcPct val="100000"/>
      </a:lnSpc>
      <a:spcBef>
        <a:spcPct val="0"/>
      </a:spcBef>
      <a:spcAft>
        <a:spcPts val="1200"/>
      </a:spcAft>
      <a:buFont typeface="Arial" panose="020B0604020202020204" pitchFamily="34" charset="0"/>
      <a:buChar char="​"/>
      <a:defRPr kern="1200" spc="-50" baseline="0">
        <a:solidFill>
          <a:schemeClr val="tx1"/>
        </a:solidFill>
        <a:latin typeface="Verdana"/>
        <a:ea typeface="Verdana" pitchFamily="34" charset="0"/>
        <a:cs typeface="Verdana" pitchFamily="34" charset="0"/>
      </a:defRPr>
    </a:lvl1pPr>
    <a:lvl2pPr marL="252000" indent="-252000" algn="l" defTabSz="457189" rtl="0" eaLnBrk="1" fontAlgn="base" hangingPunct="1">
      <a:lnSpc>
        <a:spcPct val="100000"/>
      </a:lnSpc>
      <a:spcBef>
        <a:spcPct val="0"/>
      </a:spcBef>
      <a:spcAft>
        <a:spcPts val="1200"/>
      </a:spcAft>
      <a:buFont typeface="Verdana" pitchFamily="34" charset="0"/>
      <a:buChar char="•"/>
      <a:defRPr sz="1800" kern="1200" spc="-50">
        <a:solidFill>
          <a:schemeClr val="tx1"/>
        </a:solidFill>
        <a:latin typeface="Verdana"/>
        <a:ea typeface="Verdana" pitchFamily="34" charset="0"/>
        <a:cs typeface="+mn-cs"/>
      </a:defRPr>
    </a:lvl2pPr>
    <a:lvl3pPr marL="648000" indent="-252000" algn="l" defTabSz="457189" rtl="0" eaLnBrk="1" fontAlgn="base" hangingPunct="1">
      <a:lnSpc>
        <a:spcPct val="100000"/>
      </a:lnSpc>
      <a:spcBef>
        <a:spcPct val="0"/>
      </a:spcBef>
      <a:spcAft>
        <a:spcPts val="1200"/>
      </a:spcAft>
      <a:buFont typeface="Verdana" pitchFamily="34" charset="0"/>
      <a:buChar char="•"/>
      <a:defRPr sz="1600" kern="1200" spc="-50">
        <a:solidFill>
          <a:schemeClr val="tx1"/>
        </a:solidFill>
        <a:latin typeface="Verdana"/>
        <a:ea typeface="Verdana" pitchFamily="34" charset="0"/>
        <a:cs typeface="+mn-cs"/>
      </a:defRPr>
    </a:lvl3pPr>
    <a:lvl4pPr marL="979200" indent="-252000" algn="l" defTabSz="457189" rtl="0" eaLnBrk="1" fontAlgn="base" hangingPunct="1">
      <a:lnSpc>
        <a:spcPct val="100000"/>
      </a:lnSpc>
      <a:spcBef>
        <a:spcPct val="0"/>
      </a:spcBef>
      <a:spcAft>
        <a:spcPts val="1200"/>
      </a:spcAft>
      <a:buFont typeface="Verdana" panose="020B0604030504040204" pitchFamily="34" charset="0"/>
      <a:buChar char="•"/>
      <a:defRPr sz="1400" kern="1200" spc="-50">
        <a:solidFill>
          <a:schemeClr val="tx1"/>
        </a:solidFill>
        <a:latin typeface="Verdana"/>
        <a:ea typeface="Verdana" pitchFamily="34" charset="0"/>
        <a:cs typeface="+mn-cs"/>
      </a:defRPr>
    </a:lvl4pPr>
    <a:lvl5pPr marL="0" indent="0" algn="l" defTabSz="457189" rtl="0" eaLnBrk="1" fontAlgn="base" hangingPunct="1">
      <a:lnSpc>
        <a:spcPct val="80000"/>
      </a:lnSpc>
      <a:spcBef>
        <a:spcPct val="0"/>
      </a:spcBef>
      <a:spcAft>
        <a:spcPts val="1200"/>
      </a:spcAft>
      <a:buFont typeface="Arial" panose="020B0604020202020204" pitchFamily="34" charset="0"/>
      <a:buChar char="​"/>
      <a:defRPr sz="4800" b="1" kern="1200" cap="all" spc="-50" baseline="0">
        <a:solidFill>
          <a:schemeClr val="tx1"/>
        </a:solidFill>
        <a:latin typeface="Verdana"/>
        <a:ea typeface="Verdana" pitchFamily="34" charset="0"/>
        <a:cs typeface="+mn-cs"/>
      </a:defRPr>
    </a:lvl5pPr>
    <a:lvl6pPr marL="0" indent="0" algn="l" defTabSz="457189" rtl="0" eaLnBrk="1" latinLnBrk="0" hangingPunct="1">
      <a:spcBef>
        <a:spcPts val="0"/>
      </a:spcBef>
      <a:spcAft>
        <a:spcPts val="600"/>
      </a:spcAft>
      <a:buClr>
        <a:schemeClr val="tx2"/>
      </a:buClr>
      <a:buFont typeface="Arial" panose="020B0604020202020204" pitchFamily="34" charset="0"/>
      <a:buChar char="​"/>
      <a:defRPr sz="1800" b="1" kern="1200" cap="all" spc="-50" baseline="0">
        <a:solidFill>
          <a:schemeClr val="tx2"/>
        </a:solidFill>
        <a:latin typeface="+mn-lt"/>
        <a:ea typeface="+mn-ea"/>
        <a:cs typeface="+mn-cs"/>
      </a:defRPr>
    </a:lvl6pPr>
    <a:lvl7pPr marL="0" indent="0" algn="l" defTabSz="457189" rtl="0" eaLnBrk="1" latinLnBrk="0" hangingPunct="1">
      <a:spcBef>
        <a:spcPts val="0"/>
      </a:spcBef>
      <a:spcAft>
        <a:spcPts val="1200"/>
      </a:spcAft>
      <a:buFont typeface="Arial" panose="020B0604020202020204" pitchFamily="34" charset="0"/>
      <a:buChar char="​"/>
      <a:defRPr sz="1800" i="1" kern="1200" spc="-50">
        <a:solidFill>
          <a:schemeClr val="bg2"/>
        </a:solidFill>
        <a:latin typeface="+mn-lt"/>
        <a:ea typeface="+mn-ea"/>
        <a:cs typeface="+mn-cs"/>
      </a:defRPr>
    </a:lvl7pPr>
    <a:lvl8pPr marL="648000" indent="-252000" algn="l" defTabSz="457189" rtl="0" eaLnBrk="1" latinLnBrk="0" hangingPunct="1">
      <a:spcBef>
        <a:spcPts val="0"/>
      </a:spcBef>
      <a:spcAft>
        <a:spcPts val="1200"/>
      </a:spcAft>
      <a:buClr>
        <a:schemeClr val="bg2"/>
      </a:buClr>
      <a:buFont typeface="+mj-lt"/>
      <a:buAutoNum type="arabicPeriod"/>
      <a:defRPr sz="1600" kern="1200" spc="-50">
        <a:solidFill>
          <a:schemeClr val="tx1"/>
        </a:solidFill>
        <a:latin typeface="+mn-lt"/>
        <a:ea typeface="+mn-ea"/>
        <a:cs typeface="+mn-cs"/>
      </a:defRPr>
    </a:lvl8pPr>
    <a:lvl9pPr marL="648000" indent="-252000" algn="l" defTabSz="457189" rtl="0" eaLnBrk="1" latinLnBrk="0" hangingPunct="1">
      <a:spcBef>
        <a:spcPts val="0"/>
      </a:spcBef>
      <a:spcAft>
        <a:spcPts val="1200"/>
      </a:spcAft>
      <a:buClr>
        <a:schemeClr val="bg2"/>
      </a:buClr>
      <a:buFont typeface="+mj-lt"/>
      <a:buAutoNum type="alphaUcPeriod"/>
      <a:defRPr sz="1600" kern="1200" spc="-5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0074" autoAdjust="0"/>
  </p:normalViewPr>
  <p:slideViewPr>
    <p:cSldViewPr snapToGrid="0">
      <p:cViewPr varScale="1">
        <p:scale>
          <a:sx n="103" d="100"/>
          <a:sy n="103" d="100"/>
        </p:scale>
        <p:origin x="1344" y="96"/>
      </p:cViewPr>
      <p:guideLst/>
    </p:cSldViewPr>
  </p:slideViewPr>
  <p:outlineViewPr>
    <p:cViewPr>
      <p:scale>
        <a:sx n="33" d="100"/>
        <a:sy n="33" d="100"/>
      </p:scale>
      <p:origin x="0" y="-202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3264" y="6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18" Type="http://schemas.openxmlformats.org/officeDocument/2006/relationships/customXml" Target="../customXml/item3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17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19" Type="http://schemas.openxmlformats.org/officeDocument/2006/relationships/customXml" Target="../customXml/item4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8B7588AC-F512-4847-9233-601F4B16DDF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3E8A3B-3A63-46A9-95E1-03CE2FCF9C3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F6A870-D0BC-44DB-AD81-D5E8B04AE8D4}" type="datetimeFigureOut">
              <a:rPr lang="da-DK" smtClean="0"/>
              <a:t>30-08-201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414525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0F5B7C09-5A60-450F-8B1D-B16CDE8563A2}" type="datetime1">
              <a:rPr lang="en-GB" noProof="0" smtClean="0"/>
              <a:pPr/>
              <a:t>30/08/2019</a:t>
            </a:fld>
            <a:endParaRPr lang="en-GB" noProof="0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5800"/>
            <a:ext cx="6092825" cy="3429000"/>
          </a:xfrm>
          <a:prstGeom prst="rect">
            <a:avLst/>
          </a:prstGeom>
          <a:noFill/>
          <a:ln w="3175">
            <a:solidFill>
              <a:schemeClr val="accent6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A1F2F6E2-CA2D-40A7-8BE4-C30E5CF2054D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6534676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Verdana" pitchFamily="34" charset="0"/>
        <a:cs typeface="Verdana" pitchFamily="34" charset="0"/>
      </a:defRPr>
    </a:lvl1pPr>
    <a:lvl2pPr marL="457189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Verdana" pitchFamily="34" charset="0"/>
        <a:cs typeface="+mn-cs"/>
      </a:defRPr>
    </a:lvl2pPr>
    <a:lvl3pPr marL="914377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Verdana" pitchFamily="34" charset="0"/>
        <a:cs typeface="+mn-cs"/>
      </a:defRPr>
    </a:lvl3pPr>
    <a:lvl4pPr marL="1371566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Verdana" pitchFamily="34" charset="0"/>
        <a:cs typeface="+mn-cs"/>
      </a:defRPr>
    </a:lvl4pPr>
    <a:lvl5pPr marL="1828754" algn="l" defTabSz="457189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Verdana" pitchFamily="34" charset="0"/>
        <a:cs typeface="+mn-cs"/>
      </a:defRPr>
    </a:lvl5pPr>
    <a:lvl6pPr marL="2285943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1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664481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2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44557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3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086300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4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746680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5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4412031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F2F6E2-CA2D-40A7-8BE4-C30E5CF2054D}" type="slidenum">
              <a:rPr lang="en-GB" noProof="0" smtClean="0"/>
              <a:pPr/>
              <a:t>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54395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Logo_fonden"/>
          <p:cNvSpPr>
            <a:spLocks noChangeAspect="1"/>
          </p:cNvSpPr>
          <p:nvPr userDrawn="1"/>
        </p:nvSpPr>
        <p:spPr>
          <a:xfrm>
            <a:off x="817200" y="6159600"/>
            <a:ext cx="1319093" cy="29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FLD_PresentationTitle">
            <a:extLst>
              <a:ext uri="{FF2B5EF4-FFF2-40B4-BE49-F238E27FC236}">
                <a16:creationId xmlns:a16="http://schemas.microsoft.com/office/drawing/2014/main" id="{B1DAA5DF-5AA7-49EC-ACBF-10E8A197127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513" y="409569"/>
            <a:ext cx="9773112" cy="681548"/>
          </a:xfrm>
        </p:spPr>
        <p:txBody>
          <a:bodyPr tIns="0" anchor="t" anchorCtr="0"/>
          <a:lstStyle>
            <a:lvl1pPr>
              <a:defRPr sz="4800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9" name="FLD_PresentationTitle_2">
            <a:extLst>
              <a:ext uri="{FF2B5EF4-FFF2-40B4-BE49-F238E27FC236}">
                <a16:creationId xmlns:a16="http://schemas.microsoft.com/office/drawing/2014/main" id="{5B27253C-39D7-4448-BD0F-A9FC3677BCBD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512" y="1139744"/>
            <a:ext cx="9772652" cy="125456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800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513" y="5020098"/>
            <a:ext cx="8136879" cy="1084262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7200" y="6284782"/>
            <a:ext cx="479938" cy="1556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FC6EA742-E999-426B-9F1C-33524D47AE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09BA1C59-AB8D-4ACE-A4C9-3A97AB0B83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E5D4693A-15A6-4237-B6FF-74C1968391EE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2876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5700712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414EC495-A6B9-4C60-A011-7047269C9CE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313612" y="1645032"/>
            <a:ext cx="4073525" cy="40633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60EC9E1-A6E7-4EDC-A604-820C98771D2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73643761-53E5-4729-8F9C-AC57323CEE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E45AC82-92FF-46F5-92C3-217D13BE4699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2539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3" y="452543"/>
            <a:ext cx="8958262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512" y="1645033"/>
            <a:ext cx="10588625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6FB39600-48A6-438C-ACEE-E7C3FBF9C3A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1163" y="452544"/>
            <a:ext cx="800964" cy="800964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C4DE7E55-1B3D-4B43-B1B5-DE5E4FAB98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F5D459F2-4C14-4DC3-8A9D-B1E9DF21E4C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E30149F-83BF-4B28-B703-FAC9D8F78FF5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1854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c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8958262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571162" y="1645033"/>
            <a:ext cx="818165" cy="818165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ic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31502FD-B05E-464F-8932-42D027579D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AA65EC4C-43E8-483C-B54B-30D5535BB4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53BCEAF-6782-4F4C-AFA1-88A110352A8D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13214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llustratio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487125B-AD53-4CA5-922E-72C96A67D7AA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6515100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9CFFD8C0-0E93-4388-A9E5-6DB36C4D48D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28000" y="1645033"/>
            <a:ext cx="3259138" cy="3240691"/>
          </a:xfrm>
          <a:noFill/>
          <a:ln>
            <a:noFill/>
          </a:ln>
        </p:spPr>
        <p:txBody>
          <a:bodyPr lIns="38399" tIns="0"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B97A6BE-821A-4BF5-AFE7-9A048351C6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815BEB-2C63-4CBF-9795-6F15022666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5718A16-7468-49C4-AF13-EF5D95D2742B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4537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 illustratio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5700712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86587FC-F18B-4FBE-8CD2-663B9BA8C73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313613" y="1644649"/>
            <a:ext cx="4073525" cy="40637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>
                <a:effectLst/>
              </a:rPr>
              <a:t>illustration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9B89233D-8149-4491-95B2-DE11051C86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D2C9554E-F561-4DDA-B278-92702108D9B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2CA054C-ECEE-4B35-8E92-01C7B8A82C36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3756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7329487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007D2D-A158-459C-BE2E-0A1D348DA7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2387" y="1644771"/>
            <a:ext cx="2444751" cy="4063616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800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2000" indent="-25200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63" indent="-271463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63" indent="-271463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63" indent="-271463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63" indent="-271463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3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99C5C721-7970-4C21-B42B-33753616C1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2388" y="4992414"/>
            <a:ext cx="2444750" cy="715973"/>
          </a:xfrm>
        </p:spPr>
        <p:txBody>
          <a:bodyPr lIns="0" anchor="b" anchorCtr="0"/>
          <a:lstStyle>
            <a:lvl1pPr marL="228600" indent="-228600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BDD567F-EFA3-4304-9F2D-5128B34EFFF1}"/>
              </a:ext>
            </a:extLst>
          </p:cNvPr>
          <p:cNvGrpSpPr/>
          <p:nvPr userDrawn="1"/>
        </p:nvGrpSpPr>
        <p:grpSpPr>
          <a:xfrm>
            <a:off x="12339858" y="1634370"/>
            <a:ext cx="1796791" cy="2907588"/>
            <a:chOff x="12403271" y="-1"/>
            <a:chExt cx="1796791" cy="2907588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60E582F-46F7-4DF2-ABCB-E07E85419F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A367DCD-123C-45F4-87EB-1586FA603E3A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132FA97E-008F-4B07-B688-A7B22404D82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F49FA4C-A0C7-484D-9CD0-A2B1528B3A2E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700" marR="0" indent="-25400" algn="l" defTabSz="457200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93B8FE7B-9EF6-429C-AC7B-79E85DFB481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</p:grp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7D61A51-31AF-4082-AFF9-2D4AE9DB7C8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8BB7FA2D-0C66-4D42-8CC8-567BD958137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331E137-C797-4ADD-8CB0-22F4BB77DA2E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122201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fact tex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B9C9E16-4544-49A4-A136-929E64BE7AA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4" y="1645033"/>
            <a:ext cx="4071936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59CAE46-C6D8-48BD-A372-1CDE93E9CC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84838" y="1644771"/>
            <a:ext cx="2443161" cy="4063616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800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2000" indent="-25200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63" indent="-271463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63" indent="-271463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63" indent="-271463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63" indent="-271463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7908BB7-3AA9-46B8-9F51-F98F86B5DB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42388" y="1644771"/>
            <a:ext cx="2444750" cy="4063616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800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2000" indent="-25200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63" indent="-271463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63" indent="-271463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63" indent="-271463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63" indent="-271463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92F4B53-30AD-4697-89D7-9D962CE965E5}"/>
              </a:ext>
            </a:extLst>
          </p:cNvPr>
          <p:cNvGrpSpPr/>
          <p:nvPr userDrawn="1"/>
        </p:nvGrpSpPr>
        <p:grpSpPr>
          <a:xfrm>
            <a:off x="12339858" y="1634370"/>
            <a:ext cx="1796791" cy="2907588"/>
            <a:chOff x="12403271" y="-1"/>
            <a:chExt cx="1796791" cy="2907588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F0FEF35-0958-440B-A77A-2699A83990A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2414617" y="1122667"/>
              <a:ext cx="1261627" cy="1565633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4203BB4-30A9-4057-A809-926EDEDB9F4F}"/>
                </a:ext>
              </a:extLst>
            </p:cNvPr>
            <p:cNvGrpSpPr/>
            <p:nvPr userDrawn="1"/>
          </p:nvGrpSpPr>
          <p:grpSpPr>
            <a:xfrm>
              <a:off x="12403271" y="-1"/>
              <a:ext cx="1796791" cy="2907588"/>
              <a:chOff x="9009867" y="1645032"/>
              <a:chExt cx="2365739" cy="3828268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7139BD4A-714C-44AF-902B-B7BB51BF1E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FBB5C133-0407-4A77-B2F7-7E365D047DE4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700" marR="0" indent="-25400" algn="l" defTabSz="457200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1BBC228B-197B-44A3-99D0-D56237507B14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2970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</p:grp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E9B38D5-AD3D-4AE8-88F2-0F9D25BB3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AC23FC6-140A-4E04-B1F9-995F52FC873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018BBEC8-FBB3-446D-8484-37CB82F50241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06591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868B673-9D9F-4BF4-8D81-D1B3477E6F0F}"/>
              </a:ext>
            </a:extLst>
          </p:cNvPr>
          <p:cNvGrpSpPr/>
          <p:nvPr userDrawn="1"/>
        </p:nvGrpSpPr>
        <p:grpSpPr>
          <a:xfrm>
            <a:off x="-1972094" y="1634370"/>
            <a:ext cx="1796791" cy="2907588"/>
            <a:chOff x="12339857" y="1634370"/>
            <a:chExt cx="1796791" cy="2907588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9F61C6D9-96E6-46EB-8545-E257C98220F8}"/>
                </a:ext>
              </a:extLst>
            </p:cNvPr>
            <p:cNvSpPr/>
            <p:nvPr/>
          </p:nvSpPr>
          <p:spPr>
            <a:xfrm>
              <a:off x="12339857" y="1634370"/>
              <a:ext cx="1796791" cy="2907588"/>
            </a:xfrm>
            <a:prstGeom prst="roundRect">
              <a:avLst>
                <a:gd name="adj" fmla="val 2970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 dirty="0">
                <a:solidFill>
                  <a:schemeClr val="accent3"/>
                </a:solidFill>
              </a:endParaRP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3EC8C10-6A9E-4C2B-B6BA-69C39462851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471161" y="1791659"/>
              <a:ext cx="455222" cy="213083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F580C90-4416-41DC-ADAC-F1014BB16E65}"/>
                </a:ext>
              </a:extLst>
            </p:cNvPr>
            <p:cNvSpPr txBox="1"/>
            <p:nvPr/>
          </p:nvSpPr>
          <p:spPr bwMode="auto">
            <a:xfrm>
              <a:off x="12483714" y="2086228"/>
              <a:ext cx="1433633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12700" marR="0" indent="-25400" algn="l" defTabSz="457200" rtl="0" eaLnBrk="0" fontAlgn="base" latinLnBrk="0" hangingPunct="0">
                <a:spcBef>
                  <a:spcPct val="0"/>
                </a:spcBef>
                <a:spcAft>
                  <a:spcPts val="600"/>
                </a:spcAft>
                <a:buClrTx/>
                <a:buSzTx/>
                <a:tabLst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Verdana" pitchFamily="34" charset="0"/>
                  <a:cs typeface="Verdana" pitchFamily="34" charset="0"/>
                </a:rPr>
                <a:t>LIST LEVELS (BULLET LEVELS) </a:t>
              </a:r>
              <a:b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Verdana" pitchFamily="34" charset="0"/>
                  <a:cs typeface="Verdana" pitchFamily="34" charset="0"/>
                </a:rPr>
              </a:br>
              <a:b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Verdana" pitchFamily="34" charset="0"/>
                  <a:cs typeface="Verdana" pitchFamily="34" charset="0"/>
                </a:rPr>
              </a:b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Verdana"/>
                  <a:ea typeface="Verdana" pitchFamily="34" charset="0"/>
                  <a:cs typeface="Verdana" pitchFamily="34" charset="0"/>
                </a:rPr>
                <a:t>USE ABOVE TOOL IN THE TAB HOME TO CHANGE TEXT STYLES (ALSO USE TAB FUNCTION)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C7FA45-BEB8-4FA0-89DA-4AF47CEA9AC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12351204" y="2757038"/>
              <a:ext cx="1261627" cy="1565633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1327CDE-D280-433E-A1DD-9B88BC9A9D74}"/>
              </a:ext>
            </a:extLst>
          </p:cNvPr>
          <p:cNvGrpSpPr/>
          <p:nvPr userDrawn="1"/>
        </p:nvGrpSpPr>
        <p:grpSpPr>
          <a:xfrm>
            <a:off x="12339858" y="1634370"/>
            <a:ext cx="1796791" cy="2907588"/>
            <a:chOff x="-1899137" y="-1"/>
            <a:chExt cx="1796791" cy="2907588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4AE14B58-12EA-4B20-8931-337F0DC7BE74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E1E15413-4664-4681-9444-3108046123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D2D38E9D-D309-4835-BB4A-24E940357F1D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700" marR="0" indent="-25400" algn="l" defTabSz="457200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3408A5E0-BE3B-4CF6-B031-C7BDEAE8EF42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74467B95-2571-401A-B1E8-0E48250087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4" y="453600"/>
            <a:ext cx="10588624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056064" y="1645033"/>
            <a:ext cx="7331074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44D76E6-1904-4038-80C4-8BC46CEBB7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8514" y="1644771"/>
            <a:ext cx="2443162" cy="4063616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800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2000" indent="-25200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63" indent="-271463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63" indent="-271463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63" indent="-271463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63" indent="-271463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6CAB1BFF-44E8-48FF-AF80-4144B6650AA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514" y="4992414"/>
            <a:ext cx="2443161" cy="715973"/>
          </a:xfrm>
        </p:spPr>
        <p:txBody>
          <a:bodyPr lIns="0" anchor="b" anchorCtr="0"/>
          <a:lstStyle>
            <a:lvl1pPr marL="228600" indent="-228600">
              <a:lnSpc>
                <a:spcPct val="80000"/>
              </a:lnSpc>
              <a:spcAft>
                <a:spcPts val="1200"/>
              </a:spcAft>
              <a:buFont typeface="+mj-lt"/>
              <a:buAutoNum type="arabicParenR"/>
              <a:defRPr sz="1000" b="0" i="1" cap="none" spc="0" baseline="0">
                <a:solidFill>
                  <a:schemeClr val="bg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Not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7" name="Footer Placeholder 4">
            <a:extLst>
              <a:ext uri="{FF2B5EF4-FFF2-40B4-BE49-F238E27FC236}">
                <a16:creationId xmlns:a16="http://schemas.microsoft.com/office/drawing/2014/main" id="{BB98BEF1-8B24-44DD-B00E-B069E4D5CA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29" name="Date_DateCustomA">
            <a:extLst>
              <a:ext uri="{FF2B5EF4-FFF2-40B4-BE49-F238E27FC236}">
                <a16:creationId xmlns:a16="http://schemas.microsoft.com/office/drawing/2014/main" id="{5AF2CA37-37E6-4F35-A8D3-13E15E8256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6BD44EA-438A-4D98-8E96-EF5167CCA4FD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5384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B6556C8-A731-4240-9800-194A4F70A1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4" y="452543"/>
            <a:ext cx="4071936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530FD33-AB9C-4A88-9BBB-1E385B91358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8513" y="1645033"/>
            <a:ext cx="4071937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9C52035C-C8B1-4C44-976C-626BFFA779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4838" y="5390147"/>
            <a:ext cx="5702300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4838" y="537029"/>
            <a:ext cx="5702300" cy="4853118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9DC368E-8BDB-41BB-B406-A3B0A25665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6531AD21-BE76-4592-909B-A3B9638680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EBDE0661-2604-484E-BC45-0434DFEDB972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9951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2CDE71F-8FC2-4DE4-9423-EE57143478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3" y="452543"/>
            <a:ext cx="2443162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4" y="1645033"/>
            <a:ext cx="2443162" cy="4062030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56063" y="5390147"/>
            <a:ext cx="7331075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56063" y="537029"/>
            <a:ext cx="7331075" cy="4853118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7D9B79D-FD5C-45BD-97EA-6B24E7C004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1E666E0-9E5A-4A77-8B2D-91C35C2274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F9AD5CA2-AE8E-4046-A05D-FD154D952AF2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64431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0413" cy="6859588"/>
          </a:xfrm>
          <a:noFill/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513" y="409569"/>
            <a:ext cx="9772651" cy="681548"/>
          </a:xfrm>
        </p:spPr>
        <p:txBody>
          <a:bodyPr tIns="0" anchor="t" anchorCtr="0"/>
          <a:lstStyle>
            <a:lvl1pPr>
              <a:defRPr sz="4800" cap="all" spc="-150" baseline="0" smtClean="0">
                <a:solidFill>
                  <a:schemeClr val="tx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512" y="1139744"/>
            <a:ext cx="9772191" cy="125456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800" b="1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513" y="5020098"/>
            <a:ext cx="8136879" cy="1084262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/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3344F44-1D4C-407D-B0CE-FCFEE29BE5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513" y="6159600"/>
            <a:ext cx="1220400" cy="255600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rgbClr val="009DF0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9" name="Slide Number Placeholder 5" hidden="1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32F99A81-D9A2-4F30-8989-49FBFDFFBC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r>
              <a:rPr lang="nb-NO"/>
              <a:t>KS FoU-prosjekt 184002</a:t>
            </a:r>
            <a:endParaRPr lang="en-DK" dirty="0"/>
          </a:p>
        </p:txBody>
      </p:sp>
      <p:sp>
        <p:nvSpPr>
          <p:cNvPr id="18" name="Date_DateCustomA" hidden="1">
            <a:extLst>
              <a:ext uri="{FF2B5EF4-FFF2-40B4-BE49-F238E27FC236}">
                <a16:creationId xmlns:a16="http://schemas.microsoft.com/office/drawing/2014/main" id="{4677BC5A-C865-45E8-BEA2-32CF74611B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fld id="{B13EBEEC-4978-4EE5-B432-E2422A5E35A9}" type="datetime1">
              <a:rPr lang="en-GB" smtClean="0"/>
              <a:t>30/08/2019</a:t>
            </a:fld>
            <a:endParaRPr lang="en-DK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3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4839" y="1645033"/>
            <a:ext cx="5702299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B1DDA8-1E6E-4FBF-BB03-A4586ACC43C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4071937" cy="4063354"/>
          </a:xfrm>
        </p:spPr>
        <p:txBody>
          <a:bodyPr/>
          <a:lstStyle>
            <a:lvl4pPr>
              <a:defRPr sz="1400"/>
            </a:lvl4pPr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85A6CB6-503A-43E4-95E9-49CCA6BE0AA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84838" y="5390147"/>
            <a:ext cx="5702300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BE177DB-3D97-4178-B41E-C5E88E6EF6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A29EE775-E260-4614-9C8B-28623B33C6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BE816789-DADE-4022-8688-4417D1FA2642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84997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4" y="1645033"/>
            <a:ext cx="2443162" cy="3745114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10A7420-B42B-4A1E-801C-58F73E98E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E94D7C6-6298-49CF-9E54-6442A65BE7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56063" y="1645033"/>
            <a:ext cx="7331075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6C9629C-CF41-41C8-B234-06D2B62B58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5" y="5390147"/>
            <a:ext cx="2444750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F72ED723-2034-4873-8F5F-84CD3DF067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1" name="Date_DateCustomA">
            <a:extLst>
              <a:ext uri="{FF2B5EF4-FFF2-40B4-BE49-F238E27FC236}">
                <a16:creationId xmlns:a16="http://schemas.microsoft.com/office/drawing/2014/main" id="{70AABF26-1E97-4163-9AEB-8A08056A2C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43A2E35-45EA-4171-9D75-7966DE677E06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040784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4" y="537029"/>
            <a:ext cx="10588624" cy="4853117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12900" y="906698"/>
            <a:ext cx="3257550" cy="215804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9159BA8D-3D13-45A1-A0BE-92A0162F2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5" y="5390147"/>
            <a:ext cx="10590213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040854D9-4A7F-43DD-ADEE-729ECE38A7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9" name="Date_DateCustomA">
            <a:extLst>
              <a:ext uri="{FF2B5EF4-FFF2-40B4-BE49-F238E27FC236}">
                <a16:creationId xmlns:a16="http://schemas.microsoft.com/office/drawing/2014/main" id="{13B009AD-71AF-4311-AB8D-836DCA3740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825B9F40-F3AB-43C9-82AC-3D284FA50D7E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04837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EA48E567-47F5-4B08-99D6-069385ECEC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3950CBF-72E1-4385-99DA-211C9A719C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96925" y="5389081"/>
            <a:ext cx="4073525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5D561B5-A7F3-463C-BD8C-C2813F3D37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84838" y="5389082"/>
            <a:ext cx="5702300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98513" y="1645033"/>
            <a:ext cx="4071937" cy="3744048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684838" y="1645033"/>
            <a:ext cx="5702300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5F701B6-51A4-429E-BAE7-303D346C10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2" name="Date_DateCustomA">
            <a:extLst>
              <a:ext uri="{FF2B5EF4-FFF2-40B4-BE49-F238E27FC236}">
                <a16:creationId xmlns:a16="http://schemas.microsoft.com/office/drawing/2014/main" id="{AF6FCEB8-934A-4A77-A838-C33FC03CC5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7B0EC15E-B41A-4A46-9131-549E3C21DC5F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40087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4" y="452543"/>
            <a:ext cx="10588624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3" y="1645033"/>
            <a:ext cx="8143875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513" y="5389082"/>
            <a:ext cx="8143875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89424118-58CD-42CA-86D2-8D172442E46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6775" y="1645032"/>
            <a:ext cx="1630363" cy="374511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5AEC6E4-C3EF-4192-856D-9039F171C48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756775" y="5389082"/>
            <a:ext cx="1630363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5D31929-EC68-4BA9-818F-D9E7F43918E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4" name="Date_DateCustomA">
            <a:extLst>
              <a:ext uri="{FF2B5EF4-FFF2-40B4-BE49-F238E27FC236}">
                <a16:creationId xmlns:a16="http://schemas.microsoft.com/office/drawing/2014/main" id="{F7836BF7-FD55-405A-874B-61C805C2E3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EDB56DE9-B922-4C28-BCF0-5E80E1C9B483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3782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 and fac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2AD88E7-3B12-4449-81F1-3C8219EE7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514" y="5389082"/>
            <a:ext cx="3257550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7D20742-1518-4D1C-84E0-A50DB3F71A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870450" y="5389082"/>
            <a:ext cx="3257550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4" y="1645033"/>
            <a:ext cx="3257550" cy="3745114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0450" y="1645031"/>
            <a:ext cx="3257549" cy="3745116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AD0405A-0FD7-4F0F-AF7F-B2047DF5CF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42387" y="1644771"/>
            <a:ext cx="2444751" cy="4063616"/>
          </a:xfrm>
        </p:spPr>
        <p:txBody>
          <a:bodyPr lIns="0"/>
          <a:lstStyle>
            <a:lvl1pPr marL="0" indent="0">
              <a:lnSpc>
                <a:spcPct val="80000"/>
              </a:lnSpc>
              <a:spcAft>
                <a:spcPts val="1200"/>
              </a:spcAft>
              <a:buFont typeface="Arial" panose="020B0604020202020204" pitchFamily="34" charset="0"/>
              <a:buChar char="​"/>
              <a:defRPr sz="4800" b="1" cap="all" spc="-150" baseline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600" baseline="0">
                <a:solidFill>
                  <a:schemeClr val="tx2"/>
                </a:solidFill>
              </a:defRPr>
            </a:lvl2pPr>
            <a:lvl3pPr marL="252000" indent="-252000">
              <a:lnSpc>
                <a:spcPct val="100000"/>
              </a:lnSpc>
              <a:buFont typeface="Verdana" panose="020B0604030504040204" pitchFamily="34" charset="0"/>
              <a:buChar char="•"/>
              <a:defRPr sz="1600" i="0" baseline="0">
                <a:solidFill>
                  <a:schemeClr val="tx2"/>
                </a:solidFill>
              </a:defRPr>
            </a:lvl3pPr>
            <a:lvl4pPr marL="271463" indent="-271463">
              <a:lnSpc>
                <a:spcPct val="100000"/>
              </a:lnSpc>
              <a:buFont typeface="+mj-lt"/>
              <a:buAutoNum type="arabicPeriod"/>
              <a:defRPr sz="1600">
                <a:solidFill>
                  <a:schemeClr val="tx2"/>
                </a:solidFill>
              </a:defRPr>
            </a:lvl4pPr>
            <a:lvl5pPr marL="271463" indent="-271463">
              <a:lnSpc>
                <a:spcPct val="100000"/>
              </a:lnSpc>
              <a:buFont typeface="+mj-lt"/>
              <a:buAutoNum type="alphaUcPeriod"/>
              <a:defRPr sz="1600" b="0" cap="none" spc="-50" baseline="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>
                <a:solidFill>
                  <a:schemeClr val="tx2"/>
                </a:solidFill>
              </a:defRPr>
            </a:lvl7pPr>
            <a:lvl8pPr marL="271463" indent="-271463">
              <a:buClr>
                <a:schemeClr val="tx2"/>
              </a:buClr>
              <a:buFont typeface="+mj-lt"/>
              <a:buAutoNum type="arabicParenR"/>
              <a:defRPr sz="1000">
                <a:solidFill>
                  <a:schemeClr val="tx2"/>
                </a:solidFill>
              </a:defRPr>
            </a:lvl8pPr>
            <a:lvl9pPr marL="271463" indent="-271463">
              <a:buClr>
                <a:schemeClr val="tx2"/>
              </a:buClr>
              <a:buFont typeface="+mj-lt"/>
              <a:buAutoNum type="alphaLcParenR"/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12,9%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918E1753-D849-4306-90F0-AE9E3B1E43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4824DA6C-1660-454E-AE9F-DA89A04C5D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EBB22173-D7AA-47F0-8668-C70C3413F5BF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9154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FA0290B9-8984-4B63-9584-E3AE12BC8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513" y="5389082"/>
            <a:ext cx="4886325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A7ABCE10-41F5-4BFF-B780-36E38A40F9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99224" y="5389082"/>
            <a:ext cx="2443164" cy="317982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6B139212-6CFC-41D2-8FC4-04AFFFB5F67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6775" y="5389082"/>
            <a:ext cx="1630363" cy="317981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3" y="1645033"/>
            <a:ext cx="4886325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499225" y="1645031"/>
            <a:ext cx="2443162" cy="3745116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6775" y="1645032"/>
            <a:ext cx="1630363" cy="374511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874BC50-6BE9-4C0E-B354-8E1950E1DE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A27BE1DC-8318-4E12-A678-697DBD2158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76187F6-6A86-474F-8783-BE4A9805E359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7418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9AAF93-6D36-4195-82B9-DF0720EC52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8513" y="5389082"/>
            <a:ext cx="5700712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E2CB951-B63B-4713-9C55-151E8F7076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3612" y="5389082"/>
            <a:ext cx="1628776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4ABF96D0-72C6-404F-8711-EC888AA24B2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6775" y="5389082"/>
            <a:ext cx="1630363" cy="318240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6925" y="1645033"/>
            <a:ext cx="5702300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3612" y="1645031"/>
            <a:ext cx="1628776" cy="3745116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6775" y="1645032"/>
            <a:ext cx="1630363" cy="3745115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B6ABE9CB-A3E8-48D2-82D8-BB162FBC2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6" name="Date_DateCustomA">
            <a:extLst>
              <a:ext uri="{FF2B5EF4-FFF2-40B4-BE49-F238E27FC236}">
                <a16:creationId xmlns:a16="http://schemas.microsoft.com/office/drawing/2014/main" id="{F8AC17EF-756D-46C0-9E6D-5F5BC14621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53565820-C976-4A6C-A202-AF49C56D59E1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92597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23A1CA0-6B95-4682-8F2B-A2CB29E9A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5" y="5389082"/>
            <a:ext cx="5702299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7F8FEFC5-5B98-4110-A017-739F63CE87B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3612" y="5389082"/>
            <a:ext cx="1628775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ED6E484-ADE4-491D-A306-116A904F427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756775" y="3145100"/>
            <a:ext cx="1630363" cy="318240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D494126-0696-4DB9-B563-2B5C9722422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6775" y="5389082"/>
            <a:ext cx="1630363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3" y="1645033"/>
            <a:ext cx="5700711" cy="3745114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3613" y="1645031"/>
            <a:ext cx="1628775" cy="3745116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6775" y="1645032"/>
            <a:ext cx="1630363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6775" y="3906279"/>
            <a:ext cx="1630363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spcAft>
                <a:spcPts val="0"/>
              </a:spcAft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4567020D-E32F-49AD-ADAE-9E64ADBB8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32279A45-1217-4472-8344-3C0A19130A7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E731C4CA-FF60-4A4E-AF31-FBC4474C5A7C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38985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7">
            <a:extLst>
              <a:ext uri="{FF2B5EF4-FFF2-40B4-BE49-F238E27FC236}">
                <a16:creationId xmlns:a16="http://schemas.microsoft.com/office/drawing/2014/main" id="{6DA88F43-D409-4504-A063-DA4B451A47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3" y="1645033"/>
            <a:ext cx="5700711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6" y="5389082"/>
            <a:ext cx="5702300" cy="317981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A1F7B2BE-FFF8-4897-A35A-DDFEEB4911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3612" y="3146400"/>
            <a:ext cx="4073526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3612" y="1645031"/>
            <a:ext cx="4073526" cy="1483869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35B3C8D-4ACE-428F-8AD3-7A13F1213FD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3613" y="5389082"/>
            <a:ext cx="1628775" cy="318240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7A95160-7865-47B1-BBD0-32DA9C96FE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6774" y="5389082"/>
            <a:ext cx="1630364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3613" y="3906278"/>
            <a:ext cx="1628775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6774" y="3906279"/>
            <a:ext cx="1630364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51A90D8-504E-4DC5-901B-5180BA0DE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21" name="Date_DateCustomA">
            <a:extLst>
              <a:ext uri="{FF2B5EF4-FFF2-40B4-BE49-F238E27FC236}">
                <a16:creationId xmlns:a16="http://schemas.microsoft.com/office/drawing/2014/main" id="{C64ACC7F-7EC9-4D88-B2D9-4BD783C75A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BAE3317-AD77-41CA-9F36-ECD95C276155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30060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645FE9CD-1ED4-4BAB-A2E6-81FAE97D5AA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0413" cy="6859588"/>
          </a:xfrm>
          <a:solidFill>
            <a:srgbClr val="F6F6F4"/>
          </a:solidFill>
          <a:ln>
            <a:noFill/>
          </a:ln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Logo_ramboll"/>
          <p:cNvSpPr>
            <a:spLocks/>
          </p:cNvSpPr>
          <p:nvPr userDrawn="1"/>
        </p:nvSpPr>
        <p:spPr>
          <a:xfrm>
            <a:off x="817201" y="6159600"/>
            <a:ext cx="896400" cy="25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Logo_fonden"/>
          <p:cNvSpPr>
            <a:spLocks noChangeAspect="1"/>
          </p:cNvSpPr>
          <p:nvPr userDrawn="1"/>
        </p:nvSpPr>
        <p:spPr>
          <a:xfrm>
            <a:off x="817200" y="6159600"/>
            <a:ext cx="1319093" cy="29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LD_PresentationTitle">
            <a:extLst>
              <a:ext uri="{FF2B5EF4-FFF2-40B4-BE49-F238E27FC236}">
                <a16:creationId xmlns:a16="http://schemas.microsoft.com/office/drawing/2014/main" id="{14D760D6-4511-4FB6-834E-914C8197AE9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98513" y="409569"/>
            <a:ext cx="9773110" cy="681548"/>
          </a:xfrm>
        </p:spPr>
        <p:txBody>
          <a:bodyPr tIns="0" anchor="t" anchorCtr="0"/>
          <a:lstStyle>
            <a:lvl1pPr>
              <a:defRPr sz="4800" cap="all" spc="-150" baseline="0" smtClean="0">
                <a:solidFill>
                  <a:schemeClr val="tx2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5" name="FLD_PresentationTitle_2">
            <a:extLst>
              <a:ext uri="{FF2B5EF4-FFF2-40B4-BE49-F238E27FC236}">
                <a16:creationId xmlns:a16="http://schemas.microsoft.com/office/drawing/2014/main" id="{97052B4B-9CE9-499F-8A38-BF912EBD1177}"/>
              </a:ext>
            </a:extLst>
          </p:cNvPr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798513" y="1139744"/>
            <a:ext cx="9772650" cy="1254562"/>
          </a:xfrm>
        </p:spPr>
        <p:txBody>
          <a:bodyPr lIns="0"/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4800" b="1" cap="all" spc="-150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20" name="FLD_PresentationSubtitle">
            <a:extLst>
              <a:ext uri="{FF2B5EF4-FFF2-40B4-BE49-F238E27FC236}">
                <a16:creationId xmlns:a16="http://schemas.microsoft.com/office/drawing/2014/main" id="{735D5C9D-0ACC-4AA8-AD82-A264D57A9D7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513" y="5020098"/>
            <a:ext cx="8136879" cy="1084262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7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3344F44-1D4C-407D-B0CE-FCFEE29BE51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513" y="6159600"/>
            <a:ext cx="1220400" cy="255600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.</a:t>
            </a:r>
            <a:endParaRPr lang="en-GB" dirty="0"/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F31626DF-C504-456C-BABA-F9E112AEAE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22" name="Footer Placeholder 4" hidden="1">
            <a:extLst>
              <a:ext uri="{FF2B5EF4-FFF2-40B4-BE49-F238E27FC236}">
                <a16:creationId xmlns:a16="http://schemas.microsoft.com/office/drawing/2014/main" id="{148EA343-9CD9-4A35-8E70-A9FAF3855B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r>
              <a:rPr lang="nb-NO"/>
              <a:t>KS FoU-prosjekt 184002</a:t>
            </a:r>
            <a:endParaRPr lang="en-DK" dirty="0"/>
          </a:p>
        </p:txBody>
      </p:sp>
      <p:sp>
        <p:nvSpPr>
          <p:cNvPr id="23" name="Date_DateCustomA" hidden="1">
            <a:extLst>
              <a:ext uri="{FF2B5EF4-FFF2-40B4-BE49-F238E27FC236}">
                <a16:creationId xmlns:a16="http://schemas.microsoft.com/office/drawing/2014/main" id="{D46E539C-AF02-4268-B134-91B646ABB7B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fld id="{76F10862-6500-40EA-A843-72061585137A}" type="datetime1">
              <a:rPr lang="en-GB" smtClean="0"/>
              <a:t>30/08/2019</a:t>
            </a:fld>
            <a:endParaRPr lang="en-DK" dirty="0"/>
          </a:p>
        </p:txBody>
      </p:sp>
    </p:spTree>
    <p:extLst>
      <p:ext uri="{BB962C8B-B14F-4D97-AF65-F5344CB8AC3E}">
        <p14:creationId xmlns:p14="http://schemas.microsoft.com/office/powerpoint/2010/main" val="25986852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6" y="5390147"/>
            <a:ext cx="5702300" cy="316916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2DF0A72-5AF0-4ACE-B2DB-4155F465E0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13612" y="3144921"/>
            <a:ext cx="1628776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F958486-0A01-4664-898B-849018028B9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313612" y="5389200"/>
            <a:ext cx="1628776" cy="318240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72AE0D8A-202F-43F6-AB72-839F68F575A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756774" y="3144921"/>
            <a:ext cx="1630364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553D49DA-A17B-44D7-8EBB-64C685A2307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56774" y="5389200"/>
            <a:ext cx="1630364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3" y="1645033"/>
            <a:ext cx="5700711" cy="3745114"/>
          </a:xfrm>
          <a:solidFill>
            <a:srgbClr val="F6F6F4"/>
          </a:solidFill>
        </p:spPr>
        <p:txBody>
          <a:bodyPr tIns="0" anchor="t" anchorCtr="0"/>
          <a:lstStyle>
            <a:lvl1pPr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313612" y="1645031"/>
            <a:ext cx="1628776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3612" y="3906278"/>
            <a:ext cx="1628776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9B77179-6BCC-4E37-AE98-B3C52EB6D1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756774" y="1645032"/>
            <a:ext cx="1630364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6774" y="3906279"/>
            <a:ext cx="1630363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Title 7">
            <a:extLst>
              <a:ext uri="{FF2B5EF4-FFF2-40B4-BE49-F238E27FC236}">
                <a16:creationId xmlns:a16="http://schemas.microsoft.com/office/drawing/2014/main" id="{109E8909-9BF2-426F-A556-859081C99C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89EC51AE-5F71-4517-A9E0-7E30DE0DEA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23" name="Date_DateCustomA">
            <a:extLst>
              <a:ext uri="{FF2B5EF4-FFF2-40B4-BE49-F238E27FC236}">
                <a16:creationId xmlns:a16="http://schemas.microsoft.com/office/drawing/2014/main" id="{9986C71A-FB30-4BC3-80B0-20BC5417034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C31B7C59-331F-49DE-A4E9-C4C4D195C4C7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0115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EF889C6-83CD-4604-AD8C-C94AFB21FC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6925" y="5389200"/>
            <a:ext cx="3259138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Font typeface="Arial" panose="020B0604020202020204" pitchFamily="34" charset="0"/>
              <a:buChar char="​"/>
              <a:defRPr sz="1100" b="1" i="0" cap="all" spc="-50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buFont typeface="Arial" panose="020B0604020202020204" pitchFamily="34" charset="0"/>
              <a:buNone/>
              <a:defRPr sz="2400" baseline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buFont typeface="Arial" panose="020B0604020202020204" pitchFamily="34" charset="0"/>
              <a:buChar char="​"/>
              <a:defRPr sz="1050" i="1">
                <a:solidFill>
                  <a:schemeClr val="bg2"/>
                </a:solidFill>
              </a:defRPr>
            </a:lvl3pPr>
            <a:lvl4pPr marL="176213" indent="-176213">
              <a:lnSpc>
                <a:spcPct val="100000"/>
              </a:lnSpc>
              <a:buFont typeface="+mj-lt"/>
              <a:buAutoNum type="arabicPeriod"/>
              <a:defRPr sz="1200">
                <a:solidFill>
                  <a:schemeClr val="bg2"/>
                </a:solidFill>
              </a:defRPr>
            </a:lvl4pPr>
            <a:lvl5pPr marL="176213" indent="-176213">
              <a:lnSpc>
                <a:spcPct val="100000"/>
              </a:lnSpc>
              <a:buFont typeface="+mj-lt"/>
              <a:buAutoNum type="alphaUcPeriod"/>
              <a:defRPr sz="1200" b="0" cap="none" baseline="0"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F02B0B2F-7F53-4AFC-9446-DB6C5777E6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75214" y="3146400"/>
            <a:ext cx="6485932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0662756F-E3F0-402D-9E22-0BE6B392C8C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70451" y="5389200"/>
            <a:ext cx="1625600" cy="318240"/>
          </a:xfrm>
        </p:spPr>
        <p:txBody>
          <a:bodyPr lIns="0" anchor="b" anchorCtr="0"/>
          <a:lstStyle>
            <a:lvl1pPr marL="0" indent="0" algn="l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BE7208CB-CE86-4F3D-B12C-D8268891AA4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313613" y="5389200"/>
            <a:ext cx="1628775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06E02B92-F862-4F76-B8DC-8C3D1FC7F97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756775" y="5389200"/>
            <a:ext cx="1630363" cy="318240"/>
          </a:xfrm>
        </p:spPr>
        <p:txBody>
          <a:bodyPr lIns="0" anchor="b" anchorCtr="0"/>
          <a:lstStyle>
            <a:lvl1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1pPr>
            <a:lvl2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2pPr>
            <a:lvl3pPr marL="0" indent="0"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3pPr>
            <a:lvl4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4pPr>
            <a:lvl5pPr>
              <a:lnSpc>
                <a:spcPct val="80000"/>
              </a:lnSpc>
              <a:spcAft>
                <a:spcPts val="0"/>
              </a:spcAft>
              <a:buNone/>
              <a:defRPr sz="1100" b="1" cap="all" baseline="0"/>
            </a:lvl5pPr>
          </a:lstStyle>
          <a:p>
            <a:pPr lvl="0"/>
            <a:r>
              <a:rPr lang="en-GB"/>
              <a:t>Image text</a:t>
            </a:r>
            <a:endParaRPr lang="en-GB" dirty="0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D7B8568A-A4E1-4039-824E-AC07066BFE6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798514" y="1645033"/>
            <a:ext cx="3257550" cy="3745114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CF0DD355-BD0E-4C7A-AAD1-CDB85E6B5D3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70450" y="1645031"/>
            <a:ext cx="6516688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D840AF9-BBF8-4202-BC96-375E5BEB71AA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870450" y="3906000"/>
            <a:ext cx="1628775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E3623DC9-8DA0-4C2E-9B79-E43514C6D03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313613" y="3906278"/>
            <a:ext cx="1628775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4FC1400A-42D9-4C67-90D8-FACAEC6622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756774" y="3906279"/>
            <a:ext cx="1630363" cy="1483869"/>
          </a:xfrm>
          <a:solidFill>
            <a:srgbClr val="F6F6F4"/>
          </a:solidFill>
        </p:spPr>
        <p:txBody>
          <a:bodyPr tIns="0" anchor="t" anchorCtr="0"/>
          <a:lstStyle>
            <a:lvl1pPr marL="0" indent="0">
              <a:buNone/>
              <a:defRPr/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7" name="Title 7">
            <a:extLst>
              <a:ext uri="{FF2B5EF4-FFF2-40B4-BE49-F238E27FC236}">
                <a16:creationId xmlns:a16="http://schemas.microsoft.com/office/drawing/2014/main" id="{299AE5C6-8512-40FE-B386-E39B565975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DB9DA6D0-8869-4337-BEAF-0ADAFE06FB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24" name="Date_DateCustomA">
            <a:extLst>
              <a:ext uri="{FF2B5EF4-FFF2-40B4-BE49-F238E27FC236}">
                <a16:creationId xmlns:a16="http://schemas.microsoft.com/office/drawing/2014/main" id="{A387D7D7-69FC-41FF-BDFD-687A499B612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AF798DB-5376-4BF7-A6E6-A36F00231942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597223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3200" cy="6861600"/>
          </a:xfrm>
          <a:solidFill>
            <a:srgbClr val="F6F6F4"/>
          </a:solidFill>
        </p:spPr>
        <p:txBody>
          <a:bodyPr tIns="0" anchor="t" anchorCtr="0"/>
          <a:lstStyle>
            <a:lvl1pPr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928" y="452543"/>
            <a:ext cx="10555200" cy="105624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1C804A56-02C2-4000-8DE1-4C682601C7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513" y="6159600"/>
            <a:ext cx="1220400" cy="255600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F8065A6C-B087-4C37-B9BF-238078D124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2" name="Footer Placeholder 4" hidden="1">
            <a:extLst>
              <a:ext uri="{FF2B5EF4-FFF2-40B4-BE49-F238E27FC236}">
                <a16:creationId xmlns:a16="http://schemas.microsoft.com/office/drawing/2014/main" id="{E644527C-AD14-4EB9-ADCA-31C61EBA65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r>
              <a:rPr lang="nb-NO"/>
              <a:t>KS FoU-prosjekt 184002</a:t>
            </a:r>
            <a:endParaRPr lang="en-DK" dirty="0"/>
          </a:p>
        </p:txBody>
      </p:sp>
      <p:sp>
        <p:nvSpPr>
          <p:cNvPr id="13" name="Date_DateCustomA" hidden="1">
            <a:extLst>
              <a:ext uri="{FF2B5EF4-FFF2-40B4-BE49-F238E27FC236}">
                <a16:creationId xmlns:a16="http://schemas.microsoft.com/office/drawing/2014/main" id="{264006B7-F2E6-4F4A-8D05-3F44F8F318B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fld id="{81C2A406-B092-45C4-B522-9338A80CED98}" type="datetime1">
              <a:rPr lang="en-GB" smtClean="0"/>
              <a:t>30/08/2019</a:t>
            </a:fld>
            <a:endParaRPr lang="en-DK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12193200" cy="6861600"/>
          </a:xfrm>
          <a:solidFill>
            <a:srgbClr val="F6F6F4"/>
          </a:solidFill>
        </p:spPr>
        <p:txBody>
          <a:bodyPr tIns="0" anchor="t" anchorCtr="0"/>
          <a:lstStyle>
            <a:lvl1pPr marL="0" indent="0" algn="ctr"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Mark placeholder to insert image</a:t>
            </a:r>
            <a:endParaRPr lang="en-GB" noProof="0" dirty="0"/>
          </a:p>
        </p:txBody>
      </p:sp>
      <p:sp>
        <p:nvSpPr>
          <p:cNvPr id="7" name="Text Placeholder 15">
            <a:extLst>
              <a:ext uri="{FF2B5EF4-FFF2-40B4-BE49-F238E27FC236}">
                <a16:creationId xmlns:a16="http://schemas.microsoft.com/office/drawing/2014/main" id="{D502E4A2-448F-4BE7-8814-15A06BDE1CF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798513" y="6159600"/>
            <a:ext cx="1220400" cy="255600"/>
          </a:xfrm>
          <a:custGeom>
            <a:avLst/>
            <a:gdLst>
              <a:gd name="connsiteX0" fmla="*/ 10555461 w 20742935"/>
              <a:gd name="connsiteY0" fmla="*/ 2313797 h 4374000"/>
              <a:gd name="connsiteX1" fmla="*/ 11078393 w 20742935"/>
              <a:gd name="connsiteY1" fmla="*/ 2313797 h 4374000"/>
              <a:gd name="connsiteX2" fmla="*/ 11427013 w 20742935"/>
              <a:gd name="connsiteY2" fmla="*/ 2549249 h 4374000"/>
              <a:gd name="connsiteX3" fmla="*/ 11097761 w 20742935"/>
              <a:gd name="connsiteY3" fmla="*/ 2784701 h 4374000"/>
              <a:gd name="connsiteX4" fmla="*/ 10555461 w 20742935"/>
              <a:gd name="connsiteY4" fmla="*/ 2784701 h 4374000"/>
              <a:gd name="connsiteX5" fmla="*/ 10555461 w 20742935"/>
              <a:gd name="connsiteY5" fmla="*/ 2313797 h 4374000"/>
              <a:gd name="connsiteX6" fmla="*/ 5442357 w 20742935"/>
              <a:gd name="connsiteY6" fmla="*/ 1627063 h 4374000"/>
              <a:gd name="connsiteX7" fmla="*/ 5732875 w 20742935"/>
              <a:gd name="connsiteY7" fmla="*/ 2313797 h 4374000"/>
              <a:gd name="connsiteX8" fmla="*/ 5151840 w 20742935"/>
              <a:gd name="connsiteY8" fmla="*/ 2313797 h 4374000"/>
              <a:gd name="connsiteX9" fmla="*/ 2556552 w 20742935"/>
              <a:gd name="connsiteY9" fmla="*/ 1509337 h 4374000"/>
              <a:gd name="connsiteX10" fmla="*/ 3002012 w 20742935"/>
              <a:gd name="connsiteY10" fmla="*/ 1509337 h 4374000"/>
              <a:gd name="connsiteX11" fmla="*/ 3350633 w 20742935"/>
              <a:gd name="connsiteY11" fmla="*/ 1803652 h 4374000"/>
              <a:gd name="connsiteX12" fmla="*/ 3002012 w 20742935"/>
              <a:gd name="connsiteY12" fmla="*/ 2117588 h 4374000"/>
              <a:gd name="connsiteX13" fmla="*/ 2556552 w 20742935"/>
              <a:gd name="connsiteY13" fmla="*/ 2117588 h 4374000"/>
              <a:gd name="connsiteX14" fmla="*/ 2556552 w 20742935"/>
              <a:gd name="connsiteY14" fmla="*/ 1509337 h 4374000"/>
              <a:gd name="connsiteX15" fmla="*/ 10555461 w 20742935"/>
              <a:gd name="connsiteY15" fmla="*/ 1489716 h 4374000"/>
              <a:gd name="connsiteX16" fmla="*/ 11000921 w 20742935"/>
              <a:gd name="connsiteY16" fmla="*/ 1489716 h 4374000"/>
              <a:gd name="connsiteX17" fmla="*/ 11310807 w 20742935"/>
              <a:gd name="connsiteY17" fmla="*/ 1725168 h 4374000"/>
              <a:gd name="connsiteX18" fmla="*/ 10981553 w 20742935"/>
              <a:gd name="connsiteY18" fmla="*/ 1940999 h 4374000"/>
              <a:gd name="connsiteX19" fmla="*/ 10555461 w 20742935"/>
              <a:gd name="connsiteY19" fmla="*/ 1940999 h 4374000"/>
              <a:gd name="connsiteX20" fmla="*/ 10555461 w 20742935"/>
              <a:gd name="connsiteY20" fmla="*/ 1489716 h 4374000"/>
              <a:gd name="connsiteX21" fmla="*/ 10342417 w 20742935"/>
              <a:gd name="connsiteY21" fmla="*/ 1097297 h 4374000"/>
              <a:gd name="connsiteX22" fmla="*/ 10110001 w 20742935"/>
              <a:gd name="connsiteY22" fmla="*/ 1332749 h 4374000"/>
              <a:gd name="connsiteX23" fmla="*/ 10110001 w 20742935"/>
              <a:gd name="connsiteY23" fmla="*/ 2941669 h 4374000"/>
              <a:gd name="connsiteX24" fmla="*/ 10342417 w 20742935"/>
              <a:gd name="connsiteY24" fmla="*/ 3177120 h 4374000"/>
              <a:gd name="connsiteX25" fmla="*/ 11097761 w 20742935"/>
              <a:gd name="connsiteY25" fmla="*/ 3177120 h 4374000"/>
              <a:gd name="connsiteX26" fmla="*/ 11872473 w 20742935"/>
              <a:gd name="connsiteY26" fmla="*/ 2608112 h 4374000"/>
              <a:gd name="connsiteX27" fmla="*/ 11485117 w 20742935"/>
              <a:gd name="connsiteY27" fmla="*/ 2097967 h 4374000"/>
              <a:gd name="connsiteX28" fmla="*/ 11756267 w 20742935"/>
              <a:gd name="connsiteY28" fmla="*/ 1627063 h 4374000"/>
              <a:gd name="connsiteX29" fmla="*/ 11620693 w 20742935"/>
              <a:gd name="connsiteY29" fmla="*/ 1273886 h 4374000"/>
              <a:gd name="connsiteX30" fmla="*/ 11078393 w 20742935"/>
              <a:gd name="connsiteY30" fmla="*/ 1097297 h 4374000"/>
              <a:gd name="connsiteX31" fmla="*/ 2324139 w 20742935"/>
              <a:gd name="connsiteY31" fmla="*/ 1097297 h 4374000"/>
              <a:gd name="connsiteX32" fmla="*/ 2091725 w 20742935"/>
              <a:gd name="connsiteY32" fmla="*/ 1332749 h 4374000"/>
              <a:gd name="connsiteX33" fmla="*/ 2091725 w 20742935"/>
              <a:gd name="connsiteY33" fmla="*/ 2961290 h 4374000"/>
              <a:gd name="connsiteX34" fmla="*/ 2324139 w 20742935"/>
              <a:gd name="connsiteY34" fmla="*/ 3196741 h 4374000"/>
              <a:gd name="connsiteX35" fmla="*/ 2556552 w 20742935"/>
              <a:gd name="connsiteY35" fmla="*/ 2961290 h 4374000"/>
              <a:gd name="connsiteX36" fmla="*/ 2556552 w 20742935"/>
              <a:gd name="connsiteY36" fmla="*/ 2510007 h 4374000"/>
              <a:gd name="connsiteX37" fmla="*/ 2905173 w 20742935"/>
              <a:gd name="connsiteY37" fmla="*/ 2510007 h 4374000"/>
              <a:gd name="connsiteX38" fmla="*/ 3350633 w 20742935"/>
              <a:gd name="connsiteY38" fmla="*/ 3079016 h 4374000"/>
              <a:gd name="connsiteX39" fmla="*/ 3563679 w 20742935"/>
              <a:gd name="connsiteY39" fmla="*/ 3196741 h 4374000"/>
              <a:gd name="connsiteX40" fmla="*/ 3796093 w 20742935"/>
              <a:gd name="connsiteY40" fmla="*/ 2980911 h 4374000"/>
              <a:gd name="connsiteX41" fmla="*/ 3718621 w 20742935"/>
              <a:gd name="connsiteY41" fmla="*/ 2804322 h 4374000"/>
              <a:gd name="connsiteX42" fmla="*/ 3408736 w 20742935"/>
              <a:gd name="connsiteY42" fmla="*/ 2431523 h 4374000"/>
              <a:gd name="connsiteX43" fmla="*/ 3815461 w 20742935"/>
              <a:gd name="connsiteY43" fmla="*/ 1784031 h 4374000"/>
              <a:gd name="connsiteX44" fmla="*/ 3641150 w 20742935"/>
              <a:gd name="connsiteY44" fmla="*/ 1313128 h 4374000"/>
              <a:gd name="connsiteX45" fmla="*/ 3040748 w 20742935"/>
              <a:gd name="connsiteY45" fmla="*/ 1097297 h 4374000"/>
              <a:gd name="connsiteX46" fmla="*/ 2324139 w 20742935"/>
              <a:gd name="connsiteY46" fmla="*/ 1097297 h 4374000"/>
              <a:gd name="connsiteX47" fmla="*/ 17799025 w 20742935"/>
              <a:gd name="connsiteY47" fmla="*/ 1077676 h 4374000"/>
              <a:gd name="connsiteX48" fmla="*/ 17585981 w 20742935"/>
              <a:gd name="connsiteY48" fmla="*/ 1313128 h 4374000"/>
              <a:gd name="connsiteX49" fmla="*/ 17585981 w 20742935"/>
              <a:gd name="connsiteY49" fmla="*/ 2941669 h 4374000"/>
              <a:gd name="connsiteX50" fmla="*/ 17799025 w 20742935"/>
              <a:gd name="connsiteY50" fmla="*/ 3177120 h 4374000"/>
              <a:gd name="connsiteX51" fmla="*/ 18883625 w 20742935"/>
              <a:gd name="connsiteY51" fmla="*/ 3177120 h 4374000"/>
              <a:gd name="connsiteX52" fmla="*/ 19077301 w 20742935"/>
              <a:gd name="connsiteY52" fmla="*/ 2980911 h 4374000"/>
              <a:gd name="connsiteX53" fmla="*/ 18883625 w 20742935"/>
              <a:gd name="connsiteY53" fmla="*/ 2765080 h 4374000"/>
              <a:gd name="connsiteX54" fmla="*/ 18031441 w 20742935"/>
              <a:gd name="connsiteY54" fmla="*/ 2765080 h 4374000"/>
              <a:gd name="connsiteX55" fmla="*/ 18031441 w 20742935"/>
              <a:gd name="connsiteY55" fmla="*/ 1313128 h 4374000"/>
              <a:gd name="connsiteX56" fmla="*/ 17799025 w 20742935"/>
              <a:gd name="connsiteY56" fmla="*/ 1077676 h 4374000"/>
              <a:gd name="connsiteX57" fmla="*/ 15707301 w 20742935"/>
              <a:gd name="connsiteY57" fmla="*/ 1077676 h 4374000"/>
              <a:gd name="connsiteX58" fmla="*/ 15474889 w 20742935"/>
              <a:gd name="connsiteY58" fmla="*/ 1313128 h 4374000"/>
              <a:gd name="connsiteX59" fmla="*/ 15474889 w 20742935"/>
              <a:gd name="connsiteY59" fmla="*/ 2941669 h 4374000"/>
              <a:gd name="connsiteX60" fmla="*/ 15707301 w 20742935"/>
              <a:gd name="connsiteY60" fmla="*/ 3177120 h 4374000"/>
              <a:gd name="connsiteX61" fmla="*/ 16772533 w 20742935"/>
              <a:gd name="connsiteY61" fmla="*/ 3177120 h 4374000"/>
              <a:gd name="connsiteX62" fmla="*/ 16985577 w 20742935"/>
              <a:gd name="connsiteY62" fmla="*/ 2980911 h 4374000"/>
              <a:gd name="connsiteX63" fmla="*/ 16772533 w 20742935"/>
              <a:gd name="connsiteY63" fmla="*/ 2765080 h 4374000"/>
              <a:gd name="connsiteX64" fmla="*/ 15939717 w 20742935"/>
              <a:gd name="connsiteY64" fmla="*/ 2765080 h 4374000"/>
              <a:gd name="connsiteX65" fmla="*/ 15939717 w 20742935"/>
              <a:gd name="connsiteY65" fmla="*/ 1313128 h 4374000"/>
              <a:gd name="connsiteX66" fmla="*/ 15707301 w 20742935"/>
              <a:gd name="connsiteY66" fmla="*/ 1077676 h 4374000"/>
              <a:gd name="connsiteX67" fmla="*/ 7417875 w 20742935"/>
              <a:gd name="connsiteY67" fmla="*/ 1077676 h 4374000"/>
              <a:gd name="connsiteX68" fmla="*/ 7166093 w 20742935"/>
              <a:gd name="connsiteY68" fmla="*/ 1293507 h 4374000"/>
              <a:gd name="connsiteX69" fmla="*/ 7166093 w 20742935"/>
              <a:gd name="connsiteY69" fmla="*/ 2961290 h 4374000"/>
              <a:gd name="connsiteX70" fmla="*/ 7398507 w 20742935"/>
              <a:gd name="connsiteY70" fmla="*/ 3196741 h 4374000"/>
              <a:gd name="connsiteX71" fmla="*/ 7611553 w 20742935"/>
              <a:gd name="connsiteY71" fmla="*/ 2961290 h 4374000"/>
              <a:gd name="connsiteX72" fmla="*/ 7611553 w 20742935"/>
              <a:gd name="connsiteY72" fmla="*/ 1940999 h 4374000"/>
              <a:gd name="connsiteX73" fmla="*/ 7998909 w 20742935"/>
              <a:gd name="connsiteY73" fmla="*/ 2549249 h 4374000"/>
              <a:gd name="connsiteX74" fmla="*/ 8192589 w 20742935"/>
              <a:gd name="connsiteY74" fmla="*/ 2666975 h 4374000"/>
              <a:gd name="connsiteX75" fmla="*/ 8386265 w 20742935"/>
              <a:gd name="connsiteY75" fmla="*/ 2549249 h 4374000"/>
              <a:gd name="connsiteX76" fmla="*/ 8773621 w 20742935"/>
              <a:gd name="connsiteY76" fmla="*/ 1921378 h 4374000"/>
              <a:gd name="connsiteX77" fmla="*/ 8773621 w 20742935"/>
              <a:gd name="connsiteY77" fmla="*/ 2961290 h 4374000"/>
              <a:gd name="connsiteX78" fmla="*/ 9006037 w 20742935"/>
              <a:gd name="connsiteY78" fmla="*/ 3196741 h 4374000"/>
              <a:gd name="connsiteX79" fmla="*/ 9238449 w 20742935"/>
              <a:gd name="connsiteY79" fmla="*/ 2961290 h 4374000"/>
              <a:gd name="connsiteX80" fmla="*/ 9238449 w 20742935"/>
              <a:gd name="connsiteY80" fmla="*/ 1293507 h 4374000"/>
              <a:gd name="connsiteX81" fmla="*/ 8986669 w 20742935"/>
              <a:gd name="connsiteY81" fmla="*/ 1077676 h 4374000"/>
              <a:gd name="connsiteX82" fmla="*/ 8734887 w 20742935"/>
              <a:gd name="connsiteY82" fmla="*/ 1215023 h 4374000"/>
              <a:gd name="connsiteX83" fmla="*/ 8211955 w 20742935"/>
              <a:gd name="connsiteY83" fmla="*/ 2097967 h 4374000"/>
              <a:gd name="connsiteX84" fmla="*/ 7669657 w 20742935"/>
              <a:gd name="connsiteY84" fmla="*/ 1215023 h 4374000"/>
              <a:gd name="connsiteX85" fmla="*/ 7417875 w 20742935"/>
              <a:gd name="connsiteY85" fmla="*/ 1077676 h 4374000"/>
              <a:gd name="connsiteX86" fmla="*/ 5461725 w 20742935"/>
              <a:gd name="connsiteY86" fmla="*/ 1058055 h 4374000"/>
              <a:gd name="connsiteX87" fmla="*/ 5171208 w 20742935"/>
              <a:gd name="connsiteY87" fmla="*/ 1234644 h 4374000"/>
              <a:gd name="connsiteX88" fmla="*/ 4454599 w 20742935"/>
              <a:gd name="connsiteY88" fmla="*/ 2882806 h 4374000"/>
              <a:gd name="connsiteX89" fmla="*/ 4435231 w 20742935"/>
              <a:gd name="connsiteY89" fmla="*/ 3000532 h 4374000"/>
              <a:gd name="connsiteX90" fmla="*/ 4648277 w 20742935"/>
              <a:gd name="connsiteY90" fmla="*/ 3196741 h 4374000"/>
              <a:gd name="connsiteX91" fmla="*/ 4841955 w 20742935"/>
              <a:gd name="connsiteY91" fmla="*/ 3059395 h 4374000"/>
              <a:gd name="connsiteX92" fmla="*/ 4996897 w 20742935"/>
              <a:gd name="connsiteY92" fmla="*/ 2706217 h 4374000"/>
              <a:gd name="connsiteX93" fmla="*/ 5907185 w 20742935"/>
              <a:gd name="connsiteY93" fmla="*/ 2706217 h 4374000"/>
              <a:gd name="connsiteX94" fmla="*/ 6042760 w 20742935"/>
              <a:gd name="connsiteY94" fmla="*/ 3059395 h 4374000"/>
              <a:gd name="connsiteX95" fmla="*/ 6255805 w 20742935"/>
              <a:gd name="connsiteY95" fmla="*/ 3196741 h 4374000"/>
              <a:gd name="connsiteX96" fmla="*/ 6468853 w 20742935"/>
              <a:gd name="connsiteY96" fmla="*/ 3000532 h 4374000"/>
              <a:gd name="connsiteX97" fmla="*/ 6449485 w 20742935"/>
              <a:gd name="connsiteY97" fmla="*/ 2882806 h 4374000"/>
              <a:gd name="connsiteX98" fmla="*/ 5732875 w 20742935"/>
              <a:gd name="connsiteY98" fmla="*/ 1234644 h 4374000"/>
              <a:gd name="connsiteX99" fmla="*/ 5461725 w 20742935"/>
              <a:gd name="connsiteY99" fmla="*/ 1058055 h 4374000"/>
              <a:gd name="connsiteX100" fmla="*/ 847119 w 20742935"/>
              <a:gd name="connsiteY100" fmla="*/ 0 h 4374000"/>
              <a:gd name="connsiteX101" fmla="*/ 14021983 w 20742935"/>
              <a:gd name="connsiteY101" fmla="*/ 0 h 4374000"/>
              <a:gd name="connsiteX102" fmla="*/ 14021847 w 20742935"/>
              <a:gd name="connsiteY102" fmla="*/ 630 h 4374000"/>
              <a:gd name="connsiteX103" fmla="*/ 13789889 w 20742935"/>
              <a:gd name="connsiteY103" fmla="*/ 1077676 h 4374000"/>
              <a:gd name="connsiteX104" fmla="*/ 13615577 w 20742935"/>
              <a:gd name="connsiteY104" fmla="*/ 1058055 h 4374000"/>
              <a:gd name="connsiteX105" fmla="*/ 12511613 w 20742935"/>
              <a:gd name="connsiteY105" fmla="*/ 2137209 h 4374000"/>
              <a:gd name="connsiteX106" fmla="*/ 13596209 w 20742935"/>
              <a:gd name="connsiteY106" fmla="*/ 3216362 h 4374000"/>
              <a:gd name="connsiteX107" fmla="*/ 14700175 w 20742935"/>
              <a:gd name="connsiteY107" fmla="*/ 2137209 h 4374000"/>
              <a:gd name="connsiteX108" fmla="*/ 14583969 w 20742935"/>
              <a:gd name="connsiteY108" fmla="*/ 1646684 h 4374000"/>
              <a:gd name="connsiteX109" fmla="*/ 14196613 w 20742935"/>
              <a:gd name="connsiteY109" fmla="*/ 1940999 h 4374000"/>
              <a:gd name="connsiteX110" fmla="*/ 14235349 w 20742935"/>
              <a:gd name="connsiteY110" fmla="*/ 2137209 h 4374000"/>
              <a:gd name="connsiteX111" fmla="*/ 13615577 w 20742935"/>
              <a:gd name="connsiteY111" fmla="*/ 2784701 h 4374000"/>
              <a:gd name="connsiteX112" fmla="*/ 12976439 w 20742935"/>
              <a:gd name="connsiteY112" fmla="*/ 2137209 h 4374000"/>
              <a:gd name="connsiteX113" fmla="*/ 13596209 w 20742935"/>
              <a:gd name="connsiteY113" fmla="*/ 1489716 h 4374000"/>
              <a:gd name="connsiteX114" fmla="*/ 13693049 w 20742935"/>
              <a:gd name="connsiteY114" fmla="*/ 1489716 h 4374000"/>
              <a:gd name="connsiteX115" fmla="*/ 13518737 w 20742935"/>
              <a:gd name="connsiteY115" fmla="*/ 2274556 h 4374000"/>
              <a:gd name="connsiteX116" fmla="*/ 13576841 w 20742935"/>
              <a:gd name="connsiteY116" fmla="*/ 2313797 h 4374000"/>
              <a:gd name="connsiteX117" fmla="*/ 15302449 w 20742935"/>
              <a:gd name="connsiteY117" fmla="*/ 208867 h 4374000"/>
              <a:gd name="connsiteX118" fmla="*/ 15473677 w 20742935"/>
              <a:gd name="connsiteY118" fmla="*/ 0 h 4374000"/>
              <a:gd name="connsiteX119" fmla="*/ 19895817 w 20742935"/>
              <a:gd name="connsiteY119" fmla="*/ 0 h 4374000"/>
              <a:gd name="connsiteX120" fmla="*/ 20086775 w 20742935"/>
              <a:gd name="connsiteY120" fmla="*/ 11552 h 4374000"/>
              <a:gd name="connsiteX121" fmla="*/ 20739957 w 20742935"/>
              <a:gd name="connsiteY121" fmla="*/ 787481 h 4374000"/>
              <a:gd name="connsiteX122" fmla="*/ 20742935 w 20742935"/>
              <a:gd name="connsiteY122" fmla="*/ 901016 h 4374000"/>
              <a:gd name="connsiteX123" fmla="*/ 20742935 w 20742935"/>
              <a:gd name="connsiteY123" fmla="*/ 3471506 h 4374000"/>
              <a:gd name="connsiteX124" fmla="*/ 20739957 w 20742935"/>
              <a:gd name="connsiteY124" fmla="*/ 3585041 h 4374000"/>
              <a:gd name="connsiteX125" fmla="*/ 19871385 w 20742935"/>
              <a:gd name="connsiteY125" fmla="*/ 4374000 h 4374000"/>
              <a:gd name="connsiteX126" fmla="*/ 871552 w 20742935"/>
              <a:gd name="connsiteY126" fmla="*/ 4374000 h 4374000"/>
              <a:gd name="connsiteX127" fmla="*/ 0 w 20742935"/>
              <a:gd name="connsiteY127" fmla="*/ 3471435 h 4374000"/>
              <a:gd name="connsiteX128" fmla="*/ 0 w 20742935"/>
              <a:gd name="connsiteY128" fmla="*/ 901087 h 4374000"/>
              <a:gd name="connsiteX129" fmla="*/ 656161 w 20742935"/>
              <a:gd name="connsiteY129" fmla="*/ 11552 h 437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20742935" h="4374000">
                <a:moveTo>
                  <a:pt x="10555461" y="2313797"/>
                </a:moveTo>
                <a:cubicBezTo>
                  <a:pt x="10555461" y="2313797"/>
                  <a:pt x="10555461" y="2313797"/>
                  <a:pt x="11078393" y="2313797"/>
                </a:cubicBezTo>
                <a:cubicBezTo>
                  <a:pt x="11310807" y="2313797"/>
                  <a:pt x="11427013" y="2411902"/>
                  <a:pt x="11427013" y="2549249"/>
                </a:cubicBezTo>
                <a:cubicBezTo>
                  <a:pt x="11427013" y="2706217"/>
                  <a:pt x="11291439" y="2784701"/>
                  <a:pt x="11097761" y="2784701"/>
                </a:cubicBezTo>
                <a:cubicBezTo>
                  <a:pt x="11097761" y="2784701"/>
                  <a:pt x="11097761" y="2784701"/>
                  <a:pt x="10555461" y="2784701"/>
                </a:cubicBezTo>
                <a:cubicBezTo>
                  <a:pt x="10555461" y="2784701"/>
                  <a:pt x="10555461" y="2784701"/>
                  <a:pt x="10555461" y="2313797"/>
                </a:cubicBezTo>
                <a:close/>
                <a:moveTo>
                  <a:pt x="5442357" y="1627063"/>
                </a:moveTo>
                <a:cubicBezTo>
                  <a:pt x="5442357" y="1627063"/>
                  <a:pt x="5442357" y="1627063"/>
                  <a:pt x="5732875" y="2313797"/>
                </a:cubicBezTo>
                <a:cubicBezTo>
                  <a:pt x="5732875" y="2313797"/>
                  <a:pt x="5732875" y="2313797"/>
                  <a:pt x="5151840" y="2313797"/>
                </a:cubicBezTo>
                <a:close/>
                <a:moveTo>
                  <a:pt x="2556552" y="1509337"/>
                </a:moveTo>
                <a:cubicBezTo>
                  <a:pt x="2556552" y="1509337"/>
                  <a:pt x="2556552" y="1509337"/>
                  <a:pt x="3002012" y="1509337"/>
                </a:cubicBezTo>
                <a:cubicBezTo>
                  <a:pt x="3215058" y="1509337"/>
                  <a:pt x="3350633" y="1607442"/>
                  <a:pt x="3350633" y="1803652"/>
                </a:cubicBezTo>
                <a:cubicBezTo>
                  <a:pt x="3350633" y="1980241"/>
                  <a:pt x="3234426" y="2117588"/>
                  <a:pt x="3002012" y="2117588"/>
                </a:cubicBezTo>
                <a:cubicBezTo>
                  <a:pt x="3002012" y="2117588"/>
                  <a:pt x="3002012" y="2117588"/>
                  <a:pt x="2556552" y="2117588"/>
                </a:cubicBezTo>
                <a:cubicBezTo>
                  <a:pt x="2556552" y="2117588"/>
                  <a:pt x="2556552" y="2117588"/>
                  <a:pt x="2556552" y="1509337"/>
                </a:cubicBezTo>
                <a:close/>
                <a:moveTo>
                  <a:pt x="10555461" y="1489716"/>
                </a:moveTo>
                <a:cubicBezTo>
                  <a:pt x="10555461" y="1489716"/>
                  <a:pt x="10555461" y="1489716"/>
                  <a:pt x="11000921" y="1489716"/>
                </a:cubicBezTo>
                <a:cubicBezTo>
                  <a:pt x="11194601" y="1489716"/>
                  <a:pt x="11310807" y="1568200"/>
                  <a:pt x="11310807" y="1725168"/>
                </a:cubicBezTo>
                <a:cubicBezTo>
                  <a:pt x="11310807" y="1882136"/>
                  <a:pt x="11175233" y="1940999"/>
                  <a:pt x="10981553" y="1940999"/>
                </a:cubicBezTo>
                <a:cubicBezTo>
                  <a:pt x="10981553" y="1940999"/>
                  <a:pt x="10981553" y="1940999"/>
                  <a:pt x="10555461" y="1940999"/>
                </a:cubicBezTo>
                <a:cubicBezTo>
                  <a:pt x="10555461" y="1940999"/>
                  <a:pt x="10555461" y="1940999"/>
                  <a:pt x="10555461" y="1489716"/>
                </a:cubicBezTo>
                <a:close/>
                <a:moveTo>
                  <a:pt x="10342417" y="1097297"/>
                </a:moveTo>
                <a:cubicBezTo>
                  <a:pt x="10206841" y="1097297"/>
                  <a:pt x="10110001" y="1175781"/>
                  <a:pt x="10110001" y="1332749"/>
                </a:cubicBezTo>
                <a:cubicBezTo>
                  <a:pt x="10110001" y="1332749"/>
                  <a:pt x="10110001" y="1332749"/>
                  <a:pt x="10110001" y="2941669"/>
                </a:cubicBezTo>
                <a:cubicBezTo>
                  <a:pt x="10110001" y="3098637"/>
                  <a:pt x="10206841" y="3177120"/>
                  <a:pt x="10342417" y="3177120"/>
                </a:cubicBezTo>
                <a:cubicBezTo>
                  <a:pt x="10342417" y="3177120"/>
                  <a:pt x="10342417" y="3177120"/>
                  <a:pt x="11097761" y="3177120"/>
                </a:cubicBezTo>
                <a:cubicBezTo>
                  <a:pt x="11562589" y="3177120"/>
                  <a:pt x="11872473" y="3000532"/>
                  <a:pt x="11872473" y="2608112"/>
                </a:cubicBezTo>
                <a:cubicBezTo>
                  <a:pt x="11872473" y="2313797"/>
                  <a:pt x="11717531" y="2176451"/>
                  <a:pt x="11485117" y="2097967"/>
                </a:cubicBezTo>
                <a:cubicBezTo>
                  <a:pt x="11640061" y="1999862"/>
                  <a:pt x="11756267" y="1882136"/>
                  <a:pt x="11756267" y="1627063"/>
                </a:cubicBezTo>
                <a:cubicBezTo>
                  <a:pt x="11756267" y="1489716"/>
                  <a:pt x="11717531" y="1371991"/>
                  <a:pt x="11620693" y="1273886"/>
                </a:cubicBezTo>
                <a:cubicBezTo>
                  <a:pt x="11504485" y="1156160"/>
                  <a:pt x="11310807" y="1097297"/>
                  <a:pt x="11078393" y="1097297"/>
                </a:cubicBezTo>
                <a:close/>
                <a:moveTo>
                  <a:pt x="2324139" y="1097297"/>
                </a:moveTo>
                <a:cubicBezTo>
                  <a:pt x="2188564" y="1097297"/>
                  <a:pt x="2091725" y="1175781"/>
                  <a:pt x="2091725" y="1332749"/>
                </a:cubicBezTo>
                <a:lnTo>
                  <a:pt x="2091725" y="2961290"/>
                </a:lnTo>
                <a:cubicBezTo>
                  <a:pt x="2091725" y="3118258"/>
                  <a:pt x="2188564" y="3196741"/>
                  <a:pt x="2324139" y="3196741"/>
                </a:cubicBezTo>
                <a:cubicBezTo>
                  <a:pt x="2459713" y="3196741"/>
                  <a:pt x="2556552" y="3118258"/>
                  <a:pt x="2556552" y="2961290"/>
                </a:cubicBezTo>
                <a:cubicBezTo>
                  <a:pt x="2556552" y="2961290"/>
                  <a:pt x="2556552" y="2961290"/>
                  <a:pt x="2556552" y="2510007"/>
                </a:cubicBezTo>
                <a:cubicBezTo>
                  <a:pt x="2556552" y="2510007"/>
                  <a:pt x="2556552" y="2510007"/>
                  <a:pt x="2905173" y="2510007"/>
                </a:cubicBezTo>
                <a:cubicBezTo>
                  <a:pt x="2905173" y="2510007"/>
                  <a:pt x="2905173" y="2510007"/>
                  <a:pt x="3350633" y="3079016"/>
                </a:cubicBezTo>
                <a:cubicBezTo>
                  <a:pt x="3408736" y="3157500"/>
                  <a:pt x="3466840" y="3196741"/>
                  <a:pt x="3563679" y="3196741"/>
                </a:cubicBezTo>
                <a:cubicBezTo>
                  <a:pt x="3679886" y="3196741"/>
                  <a:pt x="3796093" y="3098637"/>
                  <a:pt x="3796093" y="2980911"/>
                </a:cubicBezTo>
                <a:cubicBezTo>
                  <a:pt x="3796093" y="2902427"/>
                  <a:pt x="3757357" y="2863185"/>
                  <a:pt x="3718621" y="2804322"/>
                </a:cubicBezTo>
                <a:cubicBezTo>
                  <a:pt x="3718621" y="2804322"/>
                  <a:pt x="3718621" y="2804322"/>
                  <a:pt x="3408736" y="2431523"/>
                </a:cubicBezTo>
                <a:cubicBezTo>
                  <a:pt x="3660518" y="2313797"/>
                  <a:pt x="3815461" y="2117588"/>
                  <a:pt x="3815461" y="1784031"/>
                </a:cubicBezTo>
                <a:cubicBezTo>
                  <a:pt x="3815461" y="1587821"/>
                  <a:pt x="3757357" y="1430854"/>
                  <a:pt x="3641150" y="1313128"/>
                </a:cubicBezTo>
                <a:cubicBezTo>
                  <a:pt x="3505575" y="1175781"/>
                  <a:pt x="3311897" y="1097297"/>
                  <a:pt x="3040748" y="1097297"/>
                </a:cubicBezTo>
                <a:cubicBezTo>
                  <a:pt x="3040748" y="1097297"/>
                  <a:pt x="3040748" y="1097297"/>
                  <a:pt x="2324139" y="1097297"/>
                </a:cubicBezTo>
                <a:close/>
                <a:moveTo>
                  <a:pt x="17799025" y="1077676"/>
                </a:moveTo>
                <a:cubicBezTo>
                  <a:pt x="17682821" y="1077676"/>
                  <a:pt x="17585981" y="1156160"/>
                  <a:pt x="17585981" y="1313128"/>
                </a:cubicBezTo>
                <a:cubicBezTo>
                  <a:pt x="17585981" y="1313128"/>
                  <a:pt x="17585981" y="1313128"/>
                  <a:pt x="17585981" y="2941669"/>
                </a:cubicBezTo>
                <a:cubicBezTo>
                  <a:pt x="17585981" y="3098637"/>
                  <a:pt x="17682821" y="3177120"/>
                  <a:pt x="17799025" y="3177120"/>
                </a:cubicBezTo>
                <a:lnTo>
                  <a:pt x="18883625" y="3177120"/>
                </a:lnTo>
                <a:cubicBezTo>
                  <a:pt x="18999833" y="3177120"/>
                  <a:pt x="19077301" y="3098637"/>
                  <a:pt x="19077301" y="2980911"/>
                </a:cubicBezTo>
                <a:cubicBezTo>
                  <a:pt x="19077301" y="2843564"/>
                  <a:pt x="18999833" y="2765080"/>
                  <a:pt x="18883625" y="2765080"/>
                </a:cubicBezTo>
                <a:cubicBezTo>
                  <a:pt x="18883625" y="2765080"/>
                  <a:pt x="18883625" y="2765080"/>
                  <a:pt x="18031441" y="2765080"/>
                </a:cubicBezTo>
                <a:cubicBezTo>
                  <a:pt x="18031441" y="2765080"/>
                  <a:pt x="18031441" y="2765080"/>
                  <a:pt x="18031441" y="1313128"/>
                </a:cubicBezTo>
                <a:cubicBezTo>
                  <a:pt x="18031441" y="1156160"/>
                  <a:pt x="17934601" y="1077676"/>
                  <a:pt x="17799025" y="1077676"/>
                </a:cubicBezTo>
                <a:close/>
                <a:moveTo>
                  <a:pt x="15707301" y="1077676"/>
                </a:moveTo>
                <a:cubicBezTo>
                  <a:pt x="15571727" y="1077676"/>
                  <a:pt x="15474889" y="1156160"/>
                  <a:pt x="15474889" y="1313128"/>
                </a:cubicBezTo>
                <a:cubicBezTo>
                  <a:pt x="15474889" y="1313128"/>
                  <a:pt x="15474889" y="1313128"/>
                  <a:pt x="15474889" y="2941669"/>
                </a:cubicBezTo>
                <a:cubicBezTo>
                  <a:pt x="15474889" y="3098637"/>
                  <a:pt x="15571727" y="3177120"/>
                  <a:pt x="15707301" y="3177120"/>
                </a:cubicBezTo>
                <a:lnTo>
                  <a:pt x="16772533" y="3177120"/>
                </a:lnTo>
                <a:cubicBezTo>
                  <a:pt x="16888737" y="3177120"/>
                  <a:pt x="16985577" y="3098637"/>
                  <a:pt x="16985577" y="2980911"/>
                </a:cubicBezTo>
                <a:cubicBezTo>
                  <a:pt x="16985577" y="2843564"/>
                  <a:pt x="16888737" y="2765080"/>
                  <a:pt x="16772533" y="2765080"/>
                </a:cubicBezTo>
                <a:cubicBezTo>
                  <a:pt x="16772533" y="2765080"/>
                  <a:pt x="16772533" y="2765080"/>
                  <a:pt x="15939717" y="2765080"/>
                </a:cubicBezTo>
                <a:cubicBezTo>
                  <a:pt x="15939717" y="2765080"/>
                  <a:pt x="15939717" y="2765080"/>
                  <a:pt x="15939717" y="1313128"/>
                </a:cubicBezTo>
                <a:cubicBezTo>
                  <a:pt x="15939717" y="1156160"/>
                  <a:pt x="15842877" y="1077676"/>
                  <a:pt x="15707301" y="1077676"/>
                </a:cubicBezTo>
                <a:close/>
                <a:moveTo>
                  <a:pt x="7417875" y="1077676"/>
                </a:moveTo>
                <a:cubicBezTo>
                  <a:pt x="7301669" y="1077676"/>
                  <a:pt x="7166093" y="1156160"/>
                  <a:pt x="7166093" y="1293507"/>
                </a:cubicBezTo>
                <a:cubicBezTo>
                  <a:pt x="7166093" y="1293507"/>
                  <a:pt x="7166093" y="1293507"/>
                  <a:pt x="7166093" y="2961290"/>
                </a:cubicBezTo>
                <a:cubicBezTo>
                  <a:pt x="7166093" y="3118258"/>
                  <a:pt x="7262933" y="3196741"/>
                  <a:pt x="7398507" y="3196741"/>
                </a:cubicBezTo>
                <a:cubicBezTo>
                  <a:pt x="7514713" y="3196741"/>
                  <a:pt x="7611553" y="3118258"/>
                  <a:pt x="7611553" y="2961290"/>
                </a:cubicBezTo>
                <a:cubicBezTo>
                  <a:pt x="7611553" y="2961290"/>
                  <a:pt x="7611553" y="2961290"/>
                  <a:pt x="7611553" y="1940999"/>
                </a:cubicBezTo>
                <a:cubicBezTo>
                  <a:pt x="7611553" y="1940999"/>
                  <a:pt x="7611553" y="1940999"/>
                  <a:pt x="7998909" y="2549249"/>
                </a:cubicBezTo>
                <a:cubicBezTo>
                  <a:pt x="8057013" y="2627733"/>
                  <a:pt x="8115117" y="2666975"/>
                  <a:pt x="8192589" y="2666975"/>
                </a:cubicBezTo>
                <a:cubicBezTo>
                  <a:pt x="8289427" y="2666975"/>
                  <a:pt x="8347531" y="2627733"/>
                  <a:pt x="8386265" y="2549249"/>
                </a:cubicBezTo>
                <a:cubicBezTo>
                  <a:pt x="8386265" y="2549249"/>
                  <a:pt x="8386265" y="2549249"/>
                  <a:pt x="8773621" y="1921378"/>
                </a:cubicBezTo>
                <a:cubicBezTo>
                  <a:pt x="8773621" y="1921378"/>
                  <a:pt x="8773621" y="1921378"/>
                  <a:pt x="8773621" y="2961290"/>
                </a:cubicBezTo>
                <a:cubicBezTo>
                  <a:pt x="8773621" y="3118258"/>
                  <a:pt x="8870461" y="3196741"/>
                  <a:pt x="9006037" y="3196741"/>
                </a:cubicBezTo>
                <a:cubicBezTo>
                  <a:pt x="9141611" y="3196741"/>
                  <a:pt x="9238449" y="3118258"/>
                  <a:pt x="9238449" y="2961290"/>
                </a:cubicBezTo>
                <a:lnTo>
                  <a:pt x="9238449" y="1293507"/>
                </a:lnTo>
                <a:cubicBezTo>
                  <a:pt x="9238449" y="1156160"/>
                  <a:pt x="9102875" y="1077676"/>
                  <a:pt x="8986669" y="1077676"/>
                </a:cubicBezTo>
                <a:cubicBezTo>
                  <a:pt x="8870461" y="1077676"/>
                  <a:pt x="8792989" y="1116918"/>
                  <a:pt x="8734887" y="1215023"/>
                </a:cubicBezTo>
                <a:cubicBezTo>
                  <a:pt x="8734887" y="1215023"/>
                  <a:pt x="8734887" y="1215023"/>
                  <a:pt x="8211955" y="2097967"/>
                </a:cubicBezTo>
                <a:cubicBezTo>
                  <a:pt x="8211955" y="2097967"/>
                  <a:pt x="8211955" y="2097967"/>
                  <a:pt x="7669657" y="1215023"/>
                </a:cubicBezTo>
                <a:cubicBezTo>
                  <a:pt x="7611553" y="1116918"/>
                  <a:pt x="7534081" y="1077676"/>
                  <a:pt x="7417875" y="1077676"/>
                </a:cubicBezTo>
                <a:close/>
                <a:moveTo>
                  <a:pt x="5461725" y="1058055"/>
                </a:moveTo>
                <a:cubicBezTo>
                  <a:pt x="5306783" y="1058055"/>
                  <a:pt x="5229311" y="1136539"/>
                  <a:pt x="5171208" y="1234644"/>
                </a:cubicBezTo>
                <a:cubicBezTo>
                  <a:pt x="5171208" y="1234644"/>
                  <a:pt x="5171208" y="1234644"/>
                  <a:pt x="4454599" y="2882806"/>
                </a:cubicBezTo>
                <a:cubicBezTo>
                  <a:pt x="4435231" y="2922048"/>
                  <a:pt x="4435231" y="2961290"/>
                  <a:pt x="4435231" y="3000532"/>
                </a:cubicBezTo>
                <a:cubicBezTo>
                  <a:pt x="4435231" y="3118258"/>
                  <a:pt x="4532070" y="3196741"/>
                  <a:pt x="4648277" y="3196741"/>
                </a:cubicBezTo>
                <a:cubicBezTo>
                  <a:pt x="4745116" y="3196741"/>
                  <a:pt x="4803219" y="3157500"/>
                  <a:pt x="4841955" y="3059395"/>
                </a:cubicBezTo>
                <a:cubicBezTo>
                  <a:pt x="4841955" y="3059395"/>
                  <a:pt x="4841955" y="3059395"/>
                  <a:pt x="4996897" y="2706217"/>
                </a:cubicBezTo>
                <a:cubicBezTo>
                  <a:pt x="4996897" y="2706217"/>
                  <a:pt x="4996897" y="2706217"/>
                  <a:pt x="5907185" y="2706217"/>
                </a:cubicBezTo>
                <a:lnTo>
                  <a:pt x="6042760" y="3059395"/>
                </a:lnTo>
                <a:cubicBezTo>
                  <a:pt x="6081495" y="3157500"/>
                  <a:pt x="6158967" y="3196741"/>
                  <a:pt x="6255805" y="3196741"/>
                </a:cubicBezTo>
                <a:cubicBezTo>
                  <a:pt x="6372013" y="3196741"/>
                  <a:pt x="6468853" y="3118258"/>
                  <a:pt x="6468853" y="3000532"/>
                </a:cubicBezTo>
                <a:cubicBezTo>
                  <a:pt x="6468853" y="2961290"/>
                  <a:pt x="6468853" y="2922048"/>
                  <a:pt x="6449485" y="2882806"/>
                </a:cubicBezTo>
                <a:cubicBezTo>
                  <a:pt x="6449485" y="2882806"/>
                  <a:pt x="6449485" y="2882806"/>
                  <a:pt x="5732875" y="1234644"/>
                </a:cubicBezTo>
                <a:cubicBezTo>
                  <a:pt x="5674771" y="1136539"/>
                  <a:pt x="5597300" y="1058055"/>
                  <a:pt x="5461725" y="1058055"/>
                </a:cubicBezTo>
                <a:close/>
                <a:moveTo>
                  <a:pt x="847119" y="0"/>
                </a:moveTo>
                <a:lnTo>
                  <a:pt x="14021983" y="0"/>
                </a:lnTo>
                <a:lnTo>
                  <a:pt x="14021847" y="630"/>
                </a:lnTo>
                <a:cubicBezTo>
                  <a:pt x="14018669" y="15384"/>
                  <a:pt x="13993249" y="133416"/>
                  <a:pt x="13789889" y="1077676"/>
                </a:cubicBezTo>
                <a:cubicBezTo>
                  <a:pt x="13731785" y="1058055"/>
                  <a:pt x="13673681" y="1058055"/>
                  <a:pt x="13615577" y="1058055"/>
                </a:cubicBezTo>
                <a:cubicBezTo>
                  <a:pt x="12976439" y="1058055"/>
                  <a:pt x="12511613" y="1548579"/>
                  <a:pt x="12511613" y="2137209"/>
                </a:cubicBezTo>
                <a:cubicBezTo>
                  <a:pt x="12511613" y="2745459"/>
                  <a:pt x="12957071" y="3216362"/>
                  <a:pt x="13596209" y="3216362"/>
                </a:cubicBezTo>
                <a:cubicBezTo>
                  <a:pt x="14235349" y="3216362"/>
                  <a:pt x="14700175" y="2725838"/>
                  <a:pt x="14700175" y="2137209"/>
                </a:cubicBezTo>
                <a:cubicBezTo>
                  <a:pt x="14700175" y="1960620"/>
                  <a:pt x="14661441" y="1784031"/>
                  <a:pt x="14583969" y="1646684"/>
                </a:cubicBezTo>
                <a:cubicBezTo>
                  <a:pt x="14583969" y="1646684"/>
                  <a:pt x="14583969" y="1646684"/>
                  <a:pt x="14196613" y="1940999"/>
                </a:cubicBezTo>
                <a:cubicBezTo>
                  <a:pt x="14215981" y="1999862"/>
                  <a:pt x="14235349" y="2078346"/>
                  <a:pt x="14235349" y="2137209"/>
                </a:cubicBezTo>
                <a:cubicBezTo>
                  <a:pt x="14235349" y="2510007"/>
                  <a:pt x="13983565" y="2784701"/>
                  <a:pt x="13615577" y="2784701"/>
                </a:cubicBezTo>
                <a:cubicBezTo>
                  <a:pt x="13247589" y="2784701"/>
                  <a:pt x="12976439" y="2490386"/>
                  <a:pt x="12976439" y="2137209"/>
                </a:cubicBezTo>
                <a:cubicBezTo>
                  <a:pt x="12976439" y="1784031"/>
                  <a:pt x="13228221" y="1489716"/>
                  <a:pt x="13596209" y="1489716"/>
                </a:cubicBezTo>
                <a:cubicBezTo>
                  <a:pt x="13634945" y="1489716"/>
                  <a:pt x="13654313" y="1489716"/>
                  <a:pt x="13693049" y="1489716"/>
                </a:cubicBezTo>
                <a:cubicBezTo>
                  <a:pt x="13693049" y="1489716"/>
                  <a:pt x="13693049" y="1489716"/>
                  <a:pt x="13518737" y="2274556"/>
                </a:cubicBezTo>
                <a:cubicBezTo>
                  <a:pt x="13518737" y="2274556"/>
                  <a:pt x="13518737" y="2274556"/>
                  <a:pt x="13576841" y="2313797"/>
                </a:cubicBezTo>
                <a:cubicBezTo>
                  <a:pt x="13576841" y="2313797"/>
                  <a:pt x="13576841" y="2313797"/>
                  <a:pt x="15302449" y="208867"/>
                </a:cubicBezTo>
                <a:lnTo>
                  <a:pt x="15473677" y="0"/>
                </a:lnTo>
                <a:lnTo>
                  <a:pt x="19895817" y="0"/>
                </a:lnTo>
                <a:lnTo>
                  <a:pt x="20086775" y="11552"/>
                </a:lnTo>
                <a:cubicBezTo>
                  <a:pt x="20517065" y="68345"/>
                  <a:pt x="20714017" y="312956"/>
                  <a:pt x="20739957" y="787481"/>
                </a:cubicBezTo>
                <a:lnTo>
                  <a:pt x="20742935" y="901016"/>
                </a:lnTo>
                <a:lnTo>
                  <a:pt x="20742935" y="3471506"/>
                </a:lnTo>
                <a:lnTo>
                  <a:pt x="20739957" y="3585041"/>
                </a:lnTo>
                <a:cubicBezTo>
                  <a:pt x="20710027" y="4132570"/>
                  <a:pt x="20452417" y="4374000"/>
                  <a:pt x="19871385" y="4374000"/>
                </a:cubicBezTo>
                <a:lnTo>
                  <a:pt x="871552" y="4374000"/>
                </a:lnTo>
                <a:cubicBezTo>
                  <a:pt x="251782" y="4374000"/>
                  <a:pt x="0" y="4099306"/>
                  <a:pt x="0" y="3471435"/>
                </a:cubicBezTo>
                <a:cubicBezTo>
                  <a:pt x="0" y="3471435"/>
                  <a:pt x="0" y="3471435"/>
                  <a:pt x="0" y="901087"/>
                </a:cubicBezTo>
                <a:cubicBezTo>
                  <a:pt x="0" y="351700"/>
                  <a:pt x="192771" y="72714"/>
                  <a:pt x="656161" y="11552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en-GB"/>
              <a:t>vel</a:t>
            </a:r>
            <a:endParaRPr lang="en-GB" dirty="0"/>
          </a:p>
        </p:txBody>
      </p:sp>
      <p:sp>
        <p:nvSpPr>
          <p:cNvPr id="10" name="Slide Number Placeholder 5" hidden="1">
            <a:extLst>
              <a:ext uri="{FF2B5EF4-FFF2-40B4-BE49-F238E27FC236}">
                <a16:creationId xmlns:a16="http://schemas.microsoft.com/office/drawing/2014/main" id="{DB3E8C21-56F3-43EB-BF88-4EEB72C3F7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35D10A95-9140-4D91-8BAE-655D1782D7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100" baseline="0">
                <a:noFill/>
              </a:defRPr>
            </a:lvl1pPr>
          </a:lstStyle>
          <a:p>
            <a:pPr algn="r"/>
            <a:r>
              <a:rPr lang="nb-NO"/>
              <a:t>KS FoU-prosjekt 184002</a:t>
            </a:r>
            <a:endParaRPr lang="en-DK" dirty="0"/>
          </a:p>
        </p:txBody>
      </p:sp>
      <p:sp>
        <p:nvSpPr>
          <p:cNvPr id="12" name="Date_DateCustomA" hidden="1">
            <a:extLst>
              <a:ext uri="{FF2B5EF4-FFF2-40B4-BE49-F238E27FC236}">
                <a16:creationId xmlns:a16="http://schemas.microsoft.com/office/drawing/2014/main" id="{3FA8083C-E59E-4629-A5C9-D403872552D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en-GB" sz="100" smtClean="0">
                <a:noFill/>
              </a:defRPr>
            </a:lvl1pPr>
          </a:lstStyle>
          <a:p>
            <a:pPr algn="r"/>
            <a:fld id="{2BA721F7-925F-446C-815E-CF469109BCD5}" type="datetime1">
              <a:rPr lang="en-GB" smtClean="0"/>
              <a:t>30/08/2019</a:t>
            </a:fld>
            <a:endParaRPr lang="en-DK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C267E1F-9146-4D51-A3EA-9E268FC35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513" y="1946365"/>
            <a:ext cx="7329487" cy="2769325"/>
          </a:xfrm>
        </p:spPr>
        <p:txBody>
          <a:bodyPr/>
          <a:lstStyle>
            <a:lvl1pPr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Quotation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1E1ADCAE-53E0-4B32-A2CA-095078D0C6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5968" y="5020098"/>
            <a:ext cx="7332035" cy="1084262"/>
          </a:xfrm>
        </p:spPr>
        <p:txBody>
          <a:bodyPr lIns="0"/>
          <a:lstStyle>
            <a:lvl1pPr marL="0" indent="0">
              <a:buFont typeface="Arial" panose="020B0604020202020204" pitchFamily="34" charset="0"/>
              <a:buChar char="​"/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Title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E8FF56-E9E6-4CE1-A183-9B907183A27A}"/>
              </a:ext>
            </a:extLst>
          </p:cNvPr>
          <p:cNvSpPr txBox="1"/>
          <p:nvPr userDrawn="1"/>
        </p:nvSpPr>
        <p:spPr bwMode="auto">
          <a:xfrm>
            <a:off x="805436" y="2250351"/>
            <a:ext cx="1671637" cy="28301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600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2700" marR="0" indent="-25400" algn="l" defTabSz="457200" rtl="0" eaLnBrk="0" fontAlgn="base" latinLnBrk="0" hangingPunct="0">
              <a:lnSpc>
                <a:spcPts val="2163"/>
              </a:lnSpc>
              <a:spcBef>
                <a:spcPct val="0"/>
              </a:spcBef>
              <a:spcAft>
                <a:spcPts val="1500"/>
              </a:spcAft>
              <a:buClrTx/>
              <a:buSzTx/>
              <a:tabLst/>
            </a:pPr>
            <a:r>
              <a:rPr kumimoji="0" lang="en-GB" sz="19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Verdana"/>
                <a:ea typeface="Verdana" pitchFamily="34" charset="0"/>
                <a:cs typeface="Verdana" pitchFamily="34" charset="0"/>
              </a:rPr>
              <a:t>“</a:t>
            </a:r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A9AB153B-AFF1-4043-8D3F-263FEAF2377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5D8EFE0-F00D-46BC-9E29-8C829868EF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tx1"/>
                </a:solidFill>
              </a:defRPr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BA90A93D-37F9-4C65-91AC-8C8D05B4C5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C65EEED2-3700-4F3D-B233-A0B0EFD459D3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85959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7">
            <a:extLst>
              <a:ext uri="{FF2B5EF4-FFF2-40B4-BE49-F238E27FC236}">
                <a16:creationId xmlns:a16="http://schemas.microsoft.com/office/drawing/2014/main" id="{65C857B0-BA7F-4231-B59A-526700FAC8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2E9997-006D-492C-9877-F7617EDD29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5FC6988B-A4CB-4E12-A565-68D705C3AB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A19502C4-DF51-465A-8E8A-8B414A6EB1B6}" type="datetime1">
              <a:rPr lang="en-GB" smtClean="0"/>
              <a:t>30/08/2019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3ED85EA1-D7DA-4042-AE58-E34BD5AC52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5" name="Date_DateCustomA">
            <a:extLst>
              <a:ext uri="{FF2B5EF4-FFF2-40B4-BE49-F238E27FC236}">
                <a16:creationId xmlns:a16="http://schemas.microsoft.com/office/drawing/2014/main" id="{235F65ED-2265-47AB-ACC6-E4B66C39075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170B3A88-635A-4DAB-8787-695DD57582CC}" type="datetime1">
              <a:rPr lang="en-GB" smtClean="0"/>
              <a:t>30/08/2019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798512" y="452544"/>
            <a:ext cx="10588625" cy="1196721"/>
          </a:xfrm>
        </p:spPr>
        <p:txBody>
          <a:bodyPr tIns="0"/>
          <a:lstStyle>
            <a:lvl1pPr>
              <a:defRPr sz="3200" cap="all" baseline="0" smtClean="0">
                <a:solidFill>
                  <a:schemeClr val="bg1"/>
                </a:solidFill>
                <a:latin typeface="Verdana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91808B17-7D73-48EF-8BED-63693AB76B0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35857DB-8C0B-4148-8AB1-F694D65BF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862E3217-7BDA-45E6-ADB1-C065AF2645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FECBF645-71B1-4D40-9CB5-FA22E4D7919D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2690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rgbClr val="006FA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514" y="452544"/>
            <a:ext cx="4886324" cy="44329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7AAE5DB4-A422-4286-935C-1ABCA4CCEF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98514" y="4971350"/>
            <a:ext cx="4886324" cy="365455"/>
          </a:xfrm>
        </p:spPr>
        <p:txBody>
          <a:bodyPr lIns="0" anchor="b" anchorCtr="0"/>
          <a:lstStyle>
            <a:lvl1pPr marL="0" indent="0"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Department 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B862EE0-F879-436B-A5EA-70A7F83ABF8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98514" y="5334000"/>
            <a:ext cx="4886324" cy="424412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396000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72720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>
              <a:buFontTx/>
              <a:buNone/>
              <a:defRPr sz="1600">
                <a:solidFill>
                  <a:schemeClr val="bg1"/>
                </a:solidFill>
              </a:defRPr>
            </a:lvl4pPr>
            <a:lvl5pP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x@ramboll.com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5A883098-EC9D-45F8-BF2C-3487DF20D35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9855619-46E8-4B12-8D5A-DE35520219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8" name="Date_DateCustomA">
            <a:extLst>
              <a:ext uri="{FF2B5EF4-FFF2-40B4-BE49-F238E27FC236}">
                <a16:creationId xmlns:a16="http://schemas.microsoft.com/office/drawing/2014/main" id="{9CA6E42C-D397-4857-89FC-8B948A957D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D997EFE0-96C9-425D-82E1-18BF9997B077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39922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5E7EDE-B35A-419A-9736-2631EB88B4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2413" cy="23891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922D351-4BA5-43E7-8A97-D3D5BC4E95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3625"/>
            <a:ext cx="9142413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2F8ECBB-2F96-441D-9132-BA9E0337BF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632D03-C1B4-448C-9B14-63DC9CA0FC61}" type="datetime1">
              <a:rPr lang="en-GB" smtClean="0"/>
              <a:t>30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753DD-0DEC-4E16-BE31-26208EE2D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10FA19-2886-4538-82AF-0531AEB31A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37036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205C9348-6845-4A4F-958A-4A052BC8ED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513" y="452543"/>
            <a:ext cx="7329487" cy="5255844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19783461-93EA-4162-AC89-71558EC415F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EE38BD6-B0DE-4974-8C0E-549D4DF8AD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4F117C74-452F-4005-AE59-9EDC236F06C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36045B27-E93B-477E-BA22-7751E06D0149}" type="datetime1">
              <a:rPr lang="en-GB" smtClean="0"/>
              <a:t>30/08/2019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13279B-2256-4322-823C-A29389868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DF4939-358E-4353-8B8A-CC4BFC3A7B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572F65-7236-42BB-A96F-4EA8311A1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C33D5-2CCF-4641-93D4-55527E1D03A5}" type="datetime1">
              <a:rPr lang="en-GB" smtClean="0"/>
              <a:t>30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B41AEA-2249-4BD0-86A7-9754F78AF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3A0D69-F5D9-4856-8442-8EC879E72D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15006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DD4746-796B-40B8-9BBB-A455A8113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4013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806F5FF-27FB-4B1C-A110-4904222741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91050"/>
            <a:ext cx="10514013" cy="150018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304778-13F3-4482-8334-12C6EB091D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A595-0A0A-4C6A-9ADE-73DCA47A2373}" type="datetime1">
              <a:rPr lang="en-GB" smtClean="0"/>
              <a:t>30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4AFACF-846E-468C-AA00-5903774892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0E0F0C-0AFF-4455-A0B6-9EB1F20A2E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6066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05E901-6A05-47E8-9239-C8F9E4D1A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C11A5D-EAA1-4A6C-AA95-30C140984B3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0013" cy="43529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B22AFE-7723-48A3-B7EF-082080042A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0613" y="1825625"/>
            <a:ext cx="5181600" cy="43529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E279B1-45AB-42ED-A9C9-897C28E7E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2B7AD0-FFC0-452A-85E5-B346052D4750}" type="datetime1">
              <a:rPr lang="en-GB" smtClean="0"/>
              <a:t>30/08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22A1CF0-AC4D-40D8-8AB4-6761B41E8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871B585-7AB7-4ABB-A2A8-75301A764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3809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23B0A6-77D7-4198-8BED-0FE0DFC77C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4012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C0949B-4DBE-4114-BF1F-D428F506BE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272C16-25E8-43B9-B5E4-6DBBF0C172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6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0284938-9984-4834-87A6-3C15202B64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0613" y="1681163"/>
            <a:ext cx="51831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D86B386-E6B3-4092-97DB-62380B06199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0613" y="2505075"/>
            <a:ext cx="5183187" cy="3686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090F4E6-87BB-4BFA-8DA7-48E173E886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950E3B-6052-4235-8B34-C0EE17FDF8DF}" type="datetime1">
              <a:rPr lang="en-GB" smtClean="0"/>
              <a:t>30/08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72CA3A1-9968-47A2-8635-CBABD1D52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CC895C-0442-4DC3-B812-907B62438C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66628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94890-C128-459A-A788-1C80B868BA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971DE-FD9E-49D2-A4BB-11FFE5FE0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05A51-3623-4778-8217-3AA9FC7FF3F4}" type="datetime1">
              <a:rPr lang="en-GB" smtClean="0"/>
              <a:t>30/08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5C3DC4-0CA5-4827-A485-433A0E6E2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30FB1B-7471-4DF9-AFAE-60DED3E2A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02646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8404FF4-4DEF-4273-A48D-8273356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288E23-ABC5-4C31-ACA7-7C19ECEDCA28}" type="datetime1">
              <a:rPr lang="en-GB" smtClean="0"/>
              <a:t>30/08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00D063-EF5A-4D66-85AE-B57E366B20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B04B7C2-0925-4594-855D-8D14DD3AA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53985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D90826-636E-45B4-A7B0-F95B03FF9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014F4C-BCAE-4E33-8489-104523C175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0612" cy="48752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0C8CBB2-DFB8-4066-88C9-95748D38FB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35BB65-8F5A-46DC-89FB-BF1271D1DF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E95386-5B0B-425C-A3BA-B77B2D54E02F}" type="datetime1">
              <a:rPr lang="en-GB" smtClean="0"/>
              <a:t>30/08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456086-9899-4DEA-B4BA-8E816713A3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6DB6A6-1869-4C4B-B721-0C54777DC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12161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0225E-FA78-4E46-9AC9-6FC41A587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B63C28D-8C32-40DB-94FF-122BC6286F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0612" cy="487521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847437-6BEA-4496-9CB9-14C05AF9F6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A5A37D-A7EC-4640-98AB-A9F17D300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D6C556-324B-4770-807E-CAA5E7955F2C}" type="datetime1">
              <a:rPr lang="en-GB" smtClean="0"/>
              <a:t>30/08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78081D-7FA0-411A-B392-542DC5E6AD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47872E-58EE-4E7C-8DAD-A6AD85C4F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125392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F93C40-3531-41DE-BB34-2CBD7E88A7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66F6F2A-1AAF-4A6A-A24B-72ABBA5FD9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EA4F8A-EBE0-4015-B7EC-D61400109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1EA230-319C-4F66-B443-02A2A506FBC1}" type="datetime1">
              <a:rPr lang="en-GB" smtClean="0"/>
              <a:t>30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BF0B80-6601-4D04-99F6-CAAC3D9AD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BF5ED0-C503-4E22-8664-4E22CC0666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28334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1EB5405-ED2D-4DE8-A853-5606993C358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7313" cy="58134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E689D8-791C-44B6-9475-266F1E4A6B0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3425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C02790-F552-408E-9BFC-2E53CBBD1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B90D0-5456-416E-AE3D-58330DB81214}" type="datetime1">
              <a:rPr lang="en-GB" smtClean="0"/>
              <a:t>30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466E63-646F-4845-9104-1877FFC0B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DFEF86-F296-40D8-8AC1-78E04363D0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1359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C666208A-F4F9-4299-9F9F-6881C4C08564}"/>
              </a:ext>
            </a:extLst>
          </p:cNvPr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7DF7DBE-6CC3-4F9E-A396-E82820B89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514" y="452543"/>
            <a:ext cx="4886324" cy="5255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Breaker text</a:t>
            </a:r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7AE25691-DC33-4C04-AF2A-3DEFF887BB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F99201D3-72C4-4206-8970-FC1ACB025C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D1CF0B5E-EBE0-4C29-9382-71E1EADDB647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02737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469B42-7141-4187-8922-BFA0DC5F7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491168F-E485-4EBE-BB17-1CB8F5ECDB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56F0A9-5987-4048-8DE4-F4630029C5EF}" type="datetime1">
              <a:rPr lang="en-GB" smtClean="0"/>
              <a:t>30/08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2F35BF-3F9E-49C4-91B3-BAB888EDEA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KS FoU-prosjekt 184002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29AA11-E1C1-4752-88DE-3603C66A23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902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">
            <a:extLst>
              <a:ext uri="{FF2B5EF4-FFF2-40B4-BE49-F238E27FC236}">
                <a16:creationId xmlns:a16="http://schemas.microsoft.com/office/drawing/2014/main" id="{1C52AC6E-7F31-46F0-897C-8CA895D525E5}"/>
              </a:ext>
            </a:extLst>
          </p:cNvPr>
          <p:cNvSpPr/>
          <p:nvPr userDrawn="1"/>
        </p:nvSpPr>
        <p:spPr>
          <a:xfrm>
            <a:off x="0" y="0"/>
            <a:ext cx="12190413" cy="685958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en-GB" noProof="0" dirty="0"/>
          </a:p>
        </p:txBody>
      </p:sp>
      <p:sp>
        <p:nvSpPr>
          <p:cNvPr id="10" name="Title 3">
            <a:extLst>
              <a:ext uri="{FF2B5EF4-FFF2-40B4-BE49-F238E27FC236}">
                <a16:creationId xmlns:a16="http://schemas.microsoft.com/office/drawing/2014/main" id="{12A0CAF9-565B-4643-8539-61D9B882A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4" y="453600"/>
            <a:ext cx="10588624" cy="748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D6618B-DF84-4E96-B2FD-7B59D5717C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8513" y="1633538"/>
            <a:ext cx="10588625" cy="4087812"/>
          </a:xfrm>
        </p:spPr>
        <p:txBody>
          <a:bodyPr/>
          <a:lstStyle>
            <a:lvl1pPr marL="361950" indent="-361950">
              <a:buFont typeface="+mj-lt"/>
              <a:buAutoNum type="arabicPeriod"/>
              <a:defRPr sz="1400" b="1" cap="all" baseline="0">
                <a:solidFill>
                  <a:schemeClr val="bg1"/>
                </a:solidFill>
              </a:defRPr>
            </a:lvl1pPr>
            <a:lvl2pPr marL="627063" indent="-265113">
              <a:defRPr sz="1400" b="1" cap="all" baseline="0">
                <a:solidFill>
                  <a:schemeClr val="bg1"/>
                </a:solidFill>
              </a:defRPr>
            </a:lvl2pPr>
            <a:lvl3pPr>
              <a:defRPr b="1" cap="all" baseline="0">
                <a:solidFill>
                  <a:schemeClr val="bg1"/>
                </a:solidFill>
              </a:defRPr>
            </a:lvl3pPr>
            <a:lvl4pPr>
              <a:defRPr b="1" cap="all" baseline="0">
                <a:solidFill>
                  <a:schemeClr val="bg1"/>
                </a:solidFill>
              </a:defRPr>
            </a:lvl4pPr>
            <a:lvl5pPr>
              <a:defRPr b="1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2" name="SD_FLD_DocumentDate"/>
          <p:cNvSpPr txBox="1"/>
          <p:nvPr userDrawn="1"/>
        </p:nvSpPr>
        <p:spPr bwMode="auto">
          <a:xfrm>
            <a:off x="6092207" y="6281954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SD_FLD_Name"/>
          <p:cNvSpPr txBox="1"/>
          <p:nvPr userDrawn="1"/>
        </p:nvSpPr>
        <p:spPr bwMode="auto">
          <a:xfrm>
            <a:off x="6092207" y="6129519"/>
            <a:ext cx="5260115" cy="15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35999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r" defTabSz="457189" rtl="0" eaLnBrk="0" fontAlgn="base" latinLnBrk="0" hangingPunct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tabLst/>
            </a:pPr>
            <a:endParaRPr kumimoji="0" lang="en-GB" sz="800" b="0" i="0" u="none" strike="noStrike" kern="1200" cap="all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Freeform 5">
            <a:extLst>
              <a:ext uri="{FF2B5EF4-FFF2-40B4-BE49-F238E27FC236}">
                <a16:creationId xmlns:a16="http://schemas.microsoft.com/office/drawing/2014/main" id="{428454B1-AE1A-41EC-AD14-E0008864B561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023EA8A-7243-49C8-8C39-DC7F2EDABC6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7" name="Date_DateCustomA">
            <a:extLst>
              <a:ext uri="{FF2B5EF4-FFF2-40B4-BE49-F238E27FC236}">
                <a16:creationId xmlns:a16="http://schemas.microsoft.com/office/drawing/2014/main" id="{0BFC8F03-4431-41CF-AF1F-ECDA545293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bg1"/>
                </a:solidFill>
              </a:defRPr>
            </a:lvl1pPr>
          </a:lstStyle>
          <a:p>
            <a:pPr algn="r"/>
            <a:fld id="{5CA67031-41AD-4E95-A674-12A840EBF621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2203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4" y="453600"/>
            <a:ext cx="10588624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98512" y="1645033"/>
            <a:ext cx="10588625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FF0F6B-AA6E-4B16-90F1-26987BBE96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7" name="Date_DateCustomA">
            <a:extLst>
              <a:ext uri="{FF2B5EF4-FFF2-40B4-BE49-F238E27FC236}">
                <a16:creationId xmlns:a16="http://schemas.microsoft.com/office/drawing/2014/main" id="{FDCD1E09-F97D-49B0-8DE9-0E701EFB5F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97B5D971-D1E9-46B9-846C-812F0282B7DF}" type="datetime1">
              <a:rPr lang="en-GB" smtClean="0"/>
              <a:t>30/08/2019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4886325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9478155-5C9E-4D4A-AA75-125DF35A1CB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499224" y="1645032"/>
            <a:ext cx="4887913" cy="40633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1B842E0E-6D91-4141-882C-6C91050C6F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64885CE-5A72-464C-A675-4AEA666E3E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EE45417D-71F0-4108-B32B-CF13667E23CC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10832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98512" y="452543"/>
            <a:ext cx="10588625" cy="748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AE865576-C688-4E63-82CB-FB6477AAE622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98513" y="1645033"/>
            <a:ext cx="4071937" cy="4063354"/>
          </a:xfrm>
        </p:spPr>
        <p:txBody>
          <a:bodyPr/>
          <a:lstStyle>
            <a:lvl5pPr>
              <a:defRPr spc="-100" baseline="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535335C1-5736-449E-B5A3-80EF8EFB92D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84838" y="1645032"/>
            <a:ext cx="5702300" cy="406335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485281A-363B-4F1C-8128-EA4AF52562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B0E6362C-AD60-4A3E-B1BD-8ACCD0B3D7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483B93F7-FC3B-459B-A067-B7644B0D963A}" type="datetime1">
              <a:rPr lang="en-GB" smtClean="0"/>
              <a:t>30/08/20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41191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eform 5">
            <a:extLst>
              <a:ext uri="{FF2B5EF4-FFF2-40B4-BE49-F238E27FC236}">
                <a16:creationId xmlns:a16="http://schemas.microsoft.com/office/drawing/2014/main" id="{B3ADD142-CEBB-4289-94EB-AD59CA19C4E8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798513" y="6159600"/>
            <a:ext cx="1219200" cy="257174"/>
          </a:xfrm>
          <a:custGeom>
            <a:avLst/>
            <a:gdLst>
              <a:gd name="T0" fmla="*/ 545 w 1071"/>
              <a:gd name="T1" fmla="*/ 142 h 223"/>
              <a:gd name="T2" fmla="*/ 572 w 1071"/>
              <a:gd name="T3" fmla="*/ 118 h 223"/>
              <a:gd name="T4" fmla="*/ 132 w 1071"/>
              <a:gd name="T5" fmla="*/ 108 h 223"/>
              <a:gd name="T6" fmla="*/ 173 w 1071"/>
              <a:gd name="T7" fmla="*/ 92 h 223"/>
              <a:gd name="T8" fmla="*/ 568 w 1071"/>
              <a:gd name="T9" fmla="*/ 76 h 223"/>
              <a:gd name="T10" fmla="*/ 567 w 1071"/>
              <a:gd name="T11" fmla="*/ 99 h 223"/>
              <a:gd name="T12" fmla="*/ 296 w 1071"/>
              <a:gd name="T13" fmla="*/ 118 h 223"/>
              <a:gd name="T14" fmla="*/ 305 w 1071"/>
              <a:gd name="T15" fmla="*/ 138 h 223"/>
              <a:gd name="T16" fmla="*/ 240 w 1071"/>
              <a:gd name="T17" fmla="*/ 163 h 223"/>
              <a:gd name="T18" fmla="*/ 267 w 1071"/>
              <a:gd name="T19" fmla="*/ 63 h 223"/>
              <a:gd name="T20" fmla="*/ 333 w 1071"/>
              <a:gd name="T21" fmla="*/ 147 h 223"/>
              <a:gd name="T22" fmla="*/ 312 w 1071"/>
              <a:gd name="T23" fmla="*/ 156 h 223"/>
              <a:gd name="T24" fmla="*/ 1071 w 1071"/>
              <a:gd name="T25" fmla="*/ 177 h 223"/>
              <a:gd name="T26" fmla="*/ 799 w 1071"/>
              <a:gd name="T27" fmla="*/ 0 h 223"/>
              <a:gd name="T28" fmla="*/ 707 w 1071"/>
              <a:gd name="T29" fmla="*/ 76 h 223"/>
              <a:gd name="T30" fmla="*/ 670 w 1071"/>
              <a:gd name="T31" fmla="*/ 109 h 223"/>
              <a:gd name="T32" fmla="*/ 735 w 1071"/>
              <a:gd name="T33" fmla="*/ 109 h 223"/>
              <a:gd name="T34" fmla="*/ 759 w 1071"/>
              <a:gd name="T35" fmla="*/ 109 h 223"/>
              <a:gd name="T36" fmla="*/ 646 w 1071"/>
              <a:gd name="T37" fmla="*/ 109 h 223"/>
              <a:gd name="T38" fmla="*/ 712 w 1071"/>
              <a:gd name="T39" fmla="*/ 55 h 223"/>
              <a:gd name="T40" fmla="*/ 0 w 1071"/>
              <a:gd name="T41" fmla="*/ 46 h 223"/>
              <a:gd name="T42" fmla="*/ 1026 w 1071"/>
              <a:gd name="T43" fmla="*/ 223 h 223"/>
              <a:gd name="T44" fmla="*/ 453 w 1071"/>
              <a:gd name="T45" fmla="*/ 151 h 223"/>
              <a:gd name="T46" fmla="*/ 423 w 1071"/>
              <a:gd name="T47" fmla="*/ 136 h 223"/>
              <a:gd name="T48" fmla="*/ 393 w 1071"/>
              <a:gd name="T49" fmla="*/ 151 h 223"/>
              <a:gd name="T50" fmla="*/ 370 w 1071"/>
              <a:gd name="T51" fmla="*/ 66 h 223"/>
              <a:gd name="T52" fmla="*/ 424 w 1071"/>
              <a:gd name="T53" fmla="*/ 107 h 223"/>
              <a:gd name="T54" fmla="*/ 477 w 1071"/>
              <a:gd name="T55" fmla="*/ 66 h 223"/>
              <a:gd name="T56" fmla="*/ 600 w 1071"/>
              <a:gd name="T57" fmla="*/ 65 h 223"/>
              <a:gd name="T58" fmla="*/ 613 w 1071"/>
              <a:gd name="T59" fmla="*/ 133 h 223"/>
              <a:gd name="T60" fmla="*/ 522 w 1071"/>
              <a:gd name="T61" fmla="*/ 150 h 223"/>
              <a:gd name="T62" fmla="*/ 572 w 1071"/>
              <a:gd name="T63" fmla="*/ 56 h 223"/>
              <a:gd name="T64" fmla="*/ 157 w 1071"/>
              <a:gd name="T65" fmla="*/ 56 h 223"/>
              <a:gd name="T66" fmla="*/ 197 w 1071"/>
              <a:gd name="T67" fmla="*/ 91 h 223"/>
              <a:gd name="T68" fmla="*/ 196 w 1071"/>
              <a:gd name="T69" fmla="*/ 152 h 223"/>
              <a:gd name="T70" fmla="*/ 150 w 1071"/>
              <a:gd name="T71" fmla="*/ 128 h 223"/>
              <a:gd name="T72" fmla="*/ 120 w 1071"/>
              <a:gd name="T73" fmla="*/ 163 h 223"/>
              <a:gd name="T74" fmla="*/ 811 w 1071"/>
              <a:gd name="T75" fmla="*/ 162 h 223"/>
              <a:gd name="T76" fmla="*/ 811 w 1071"/>
              <a:gd name="T77" fmla="*/ 55 h 223"/>
              <a:gd name="T78" fmla="*/ 866 w 1071"/>
              <a:gd name="T79" fmla="*/ 141 h 223"/>
              <a:gd name="T80" fmla="*/ 811 w 1071"/>
              <a:gd name="T81" fmla="*/ 162 h 223"/>
              <a:gd name="T82" fmla="*/ 908 w 1071"/>
              <a:gd name="T83" fmla="*/ 67 h 223"/>
              <a:gd name="T84" fmla="*/ 931 w 1071"/>
              <a:gd name="T85" fmla="*/ 141 h 223"/>
              <a:gd name="T86" fmla="*/ 975 w 1071"/>
              <a:gd name="T87" fmla="*/ 162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1" h="223">
                <a:moveTo>
                  <a:pt x="572" y="118"/>
                </a:moveTo>
                <a:cubicBezTo>
                  <a:pt x="545" y="118"/>
                  <a:pt x="545" y="118"/>
                  <a:pt x="545" y="118"/>
                </a:cubicBezTo>
                <a:cubicBezTo>
                  <a:pt x="545" y="142"/>
                  <a:pt x="545" y="142"/>
                  <a:pt x="545" y="142"/>
                </a:cubicBezTo>
                <a:cubicBezTo>
                  <a:pt x="573" y="142"/>
                  <a:pt x="573" y="142"/>
                  <a:pt x="573" y="142"/>
                </a:cubicBezTo>
                <a:cubicBezTo>
                  <a:pt x="583" y="142"/>
                  <a:pt x="590" y="138"/>
                  <a:pt x="590" y="130"/>
                </a:cubicBezTo>
                <a:cubicBezTo>
                  <a:pt x="590" y="123"/>
                  <a:pt x="584" y="118"/>
                  <a:pt x="572" y="118"/>
                </a:cubicBezTo>
                <a:moveTo>
                  <a:pt x="155" y="77"/>
                </a:moveTo>
                <a:cubicBezTo>
                  <a:pt x="132" y="77"/>
                  <a:pt x="132" y="77"/>
                  <a:pt x="132" y="77"/>
                </a:cubicBezTo>
                <a:cubicBezTo>
                  <a:pt x="132" y="108"/>
                  <a:pt x="132" y="108"/>
                  <a:pt x="132" y="108"/>
                </a:cubicBezTo>
                <a:cubicBezTo>
                  <a:pt x="155" y="108"/>
                  <a:pt x="155" y="108"/>
                  <a:pt x="155" y="108"/>
                </a:cubicBezTo>
                <a:cubicBezTo>
                  <a:pt x="167" y="108"/>
                  <a:pt x="173" y="101"/>
                  <a:pt x="173" y="92"/>
                </a:cubicBezTo>
                <a:cubicBezTo>
                  <a:pt x="173" y="92"/>
                  <a:pt x="173" y="92"/>
                  <a:pt x="173" y="92"/>
                </a:cubicBezTo>
                <a:cubicBezTo>
                  <a:pt x="173" y="82"/>
                  <a:pt x="166" y="77"/>
                  <a:pt x="155" y="77"/>
                </a:cubicBezTo>
                <a:moveTo>
                  <a:pt x="584" y="88"/>
                </a:moveTo>
                <a:cubicBezTo>
                  <a:pt x="584" y="80"/>
                  <a:pt x="578" y="76"/>
                  <a:pt x="568" y="76"/>
                </a:cubicBezTo>
                <a:cubicBezTo>
                  <a:pt x="545" y="76"/>
                  <a:pt x="545" y="76"/>
                  <a:pt x="545" y="76"/>
                </a:cubicBezTo>
                <a:cubicBezTo>
                  <a:pt x="545" y="99"/>
                  <a:pt x="545" y="99"/>
                  <a:pt x="545" y="99"/>
                </a:cubicBezTo>
                <a:cubicBezTo>
                  <a:pt x="567" y="99"/>
                  <a:pt x="567" y="99"/>
                  <a:pt x="567" y="99"/>
                </a:cubicBezTo>
                <a:cubicBezTo>
                  <a:pt x="577" y="99"/>
                  <a:pt x="584" y="96"/>
                  <a:pt x="584" y="88"/>
                </a:cubicBezTo>
                <a:moveTo>
                  <a:pt x="266" y="118"/>
                </a:moveTo>
                <a:cubicBezTo>
                  <a:pt x="296" y="118"/>
                  <a:pt x="296" y="118"/>
                  <a:pt x="296" y="118"/>
                </a:cubicBezTo>
                <a:cubicBezTo>
                  <a:pt x="281" y="83"/>
                  <a:pt x="281" y="83"/>
                  <a:pt x="281" y="83"/>
                </a:cubicBezTo>
                <a:lnTo>
                  <a:pt x="266" y="118"/>
                </a:lnTo>
                <a:close/>
                <a:moveTo>
                  <a:pt x="305" y="138"/>
                </a:moveTo>
                <a:cubicBezTo>
                  <a:pt x="258" y="138"/>
                  <a:pt x="258" y="138"/>
                  <a:pt x="258" y="138"/>
                </a:cubicBezTo>
                <a:cubicBezTo>
                  <a:pt x="250" y="156"/>
                  <a:pt x="250" y="156"/>
                  <a:pt x="250" y="156"/>
                </a:cubicBezTo>
                <a:cubicBezTo>
                  <a:pt x="248" y="161"/>
                  <a:pt x="245" y="163"/>
                  <a:pt x="240" y="163"/>
                </a:cubicBezTo>
                <a:cubicBezTo>
                  <a:pt x="234" y="163"/>
                  <a:pt x="229" y="159"/>
                  <a:pt x="229" y="153"/>
                </a:cubicBezTo>
                <a:cubicBezTo>
                  <a:pt x="229" y="151"/>
                  <a:pt x="229" y="149"/>
                  <a:pt x="230" y="147"/>
                </a:cubicBezTo>
                <a:cubicBezTo>
                  <a:pt x="267" y="63"/>
                  <a:pt x="267" y="63"/>
                  <a:pt x="267" y="63"/>
                </a:cubicBezTo>
                <a:cubicBezTo>
                  <a:pt x="270" y="58"/>
                  <a:pt x="274" y="54"/>
                  <a:pt x="282" y="54"/>
                </a:cubicBezTo>
                <a:cubicBezTo>
                  <a:pt x="289" y="54"/>
                  <a:pt x="293" y="58"/>
                  <a:pt x="296" y="63"/>
                </a:cubicBezTo>
                <a:cubicBezTo>
                  <a:pt x="333" y="147"/>
                  <a:pt x="333" y="147"/>
                  <a:pt x="333" y="147"/>
                </a:cubicBezTo>
                <a:cubicBezTo>
                  <a:pt x="334" y="149"/>
                  <a:pt x="334" y="151"/>
                  <a:pt x="334" y="153"/>
                </a:cubicBezTo>
                <a:cubicBezTo>
                  <a:pt x="334" y="159"/>
                  <a:pt x="329" y="163"/>
                  <a:pt x="323" y="163"/>
                </a:cubicBezTo>
                <a:cubicBezTo>
                  <a:pt x="318" y="163"/>
                  <a:pt x="314" y="161"/>
                  <a:pt x="312" y="156"/>
                </a:cubicBezTo>
                <a:lnTo>
                  <a:pt x="305" y="138"/>
                </a:lnTo>
                <a:close/>
                <a:moveTo>
                  <a:pt x="1026" y="223"/>
                </a:moveTo>
                <a:cubicBezTo>
                  <a:pt x="1058" y="223"/>
                  <a:pt x="1071" y="209"/>
                  <a:pt x="1071" y="177"/>
                </a:cubicBezTo>
                <a:cubicBezTo>
                  <a:pt x="1071" y="46"/>
                  <a:pt x="1071" y="46"/>
                  <a:pt x="1071" y="46"/>
                </a:cubicBezTo>
                <a:cubicBezTo>
                  <a:pt x="1071" y="14"/>
                  <a:pt x="1058" y="0"/>
                  <a:pt x="1026" y="0"/>
                </a:cubicBezTo>
                <a:cubicBezTo>
                  <a:pt x="799" y="0"/>
                  <a:pt x="799" y="0"/>
                  <a:pt x="799" y="0"/>
                </a:cubicBezTo>
                <a:cubicBezTo>
                  <a:pt x="701" y="118"/>
                  <a:pt x="701" y="118"/>
                  <a:pt x="701" y="118"/>
                </a:cubicBezTo>
                <a:cubicBezTo>
                  <a:pt x="698" y="116"/>
                  <a:pt x="698" y="116"/>
                  <a:pt x="698" y="116"/>
                </a:cubicBezTo>
                <a:cubicBezTo>
                  <a:pt x="707" y="76"/>
                  <a:pt x="707" y="76"/>
                  <a:pt x="707" y="76"/>
                </a:cubicBezTo>
                <a:cubicBezTo>
                  <a:pt x="705" y="76"/>
                  <a:pt x="704" y="76"/>
                  <a:pt x="702" y="76"/>
                </a:cubicBezTo>
                <a:cubicBezTo>
                  <a:pt x="683" y="76"/>
                  <a:pt x="670" y="91"/>
                  <a:pt x="670" y="109"/>
                </a:cubicBezTo>
                <a:cubicBezTo>
                  <a:pt x="670" y="109"/>
                  <a:pt x="670" y="109"/>
                  <a:pt x="670" y="109"/>
                </a:cubicBezTo>
                <a:cubicBezTo>
                  <a:pt x="670" y="127"/>
                  <a:pt x="684" y="142"/>
                  <a:pt x="703" y="142"/>
                </a:cubicBezTo>
                <a:cubicBezTo>
                  <a:pt x="722" y="142"/>
                  <a:pt x="735" y="128"/>
                  <a:pt x="735" y="109"/>
                </a:cubicBezTo>
                <a:cubicBezTo>
                  <a:pt x="735" y="109"/>
                  <a:pt x="735" y="109"/>
                  <a:pt x="735" y="109"/>
                </a:cubicBezTo>
                <a:cubicBezTo>
                  <a:pt x="735" y="106"/>
                  <a:pt x="734" y="102"/>
                  <a:pt x="733" y="99"/>
                </a:cubicBezTo>
                <a:cubicBezTo>
                  <a:pt x="753" y="84"/>
                  <a:pt x="753" y="84"/>
                  <a:pt x="753" y="84"/>
                </a:cubicBezTo>
                <a:cubicBezTo>
                  <a:pt x="757" y="91"/>
                  <a:pt x="759" y="100"/>
                  <a:pt x="759" y="109"/>
                </a:cubicBezTo>
                <a:cubicBezTo>
                  <a:pt x="759" y="109"/>
                  <a:pt x="759" y="109"/>
                  <a:pt x="759" y="109"/>
                </a:cubicBezTo>
                <a:cubicBezTo>
                  <a:pt x="759" y="139"/>
                  <a:pt x="735" y="164"/>
                  <a:pt x="702" y="164"/>
                </a:cubicBezTo>
                <a:cubicBezTo>
                  <a:pt x="669" y="164"/>
                  <a:pt x="646" y="140"/>
                  <a:pt x="646" y="109"/>
                </a:cubicBezTo>
                <a:cubicBezTo>
                  <a:pt x="646" y="109"/>
                  <a:pt x="646" y="109"/>
                  <a:pt x="646" y="109"/>
                </a:cubicBezTo>
                <a:cubicBezTo>
                  <a:pt x="646" y="79"/>
                  <a:pt x="670" y="54"/>
                  <a:pt x="703" y="54"/>
                </a:cubicBezTo>
                <a:cubicBezTo>
                  <a:pt x="706" y="54"/>
                  <a:pt x="709" y="54"/>
                  <a:pt x="712" y="55"/>
                </a:cubicBezTo>
                <a:cubicBezTo>
                  <a:pt x="724" y="0"/>
                  <a:pt x="724" y="0"/>
                  <a:pt x="724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13" y="0"/>
                  <a:pt x="0" y="14"/>
                  <a:pt x="0" y="46"/>
                </a:cubicBezTo>
                <a:cubicBezTo>
                  <a:pt x="0" y="177"/>
                  <a:pt x="0" y="177"/>
                  <a:pt x="0" y="177"/>
                </a:cubicBezTo>
                <a:cubicBezTo>
                  <a:pt x="0" y="209"/>
                  <a:pt x="13" y="223"/>
                  <a:pt x="45" y="223"/>
                </a:cubicBezTo>
                <a:lnTo>
                  <a:pt x="1026" y="223"/>
                </a:lnTo>
                <a:close/>
                <a:moveTo>
                  <a:pt x="477" y="151"/>
                </a:moveTo>
                <a:cubicBezTo>
                  <a:pt x="477" y="159"/>
                  <a:pt x="472" y="163"/>
                  <a:pt x="465" y="163"/>
                </a:cubicBezTo>
                <a:cubicBezTo>
                  <a:pt x="458" y="163"/>
                  <a:pt x="453" y="159"/>
                  <a:pt x="453" y="151"/>
                </a:cubicBezTo>
                <a:cubicBezTo>
                  <a:pt x="453" y="98"/>
                  <a:pt x="453" y="98"/>
                  <a:pt x="453" y="98"/>
                </a:cubicBezTo>
                <a:cubicBezTo>
                  <a:pt x="433" y="130"/>
                  <a:pt x="433" y="130"/>
                  <a:pt x="433" y="130"/>
                </a:cubicBezTo>
                <a:cubicBezTo>
                  <a:pt x="431" y="134"/>
                  <a:pt x="428" y="136"/>
                  <a:pt x="423" y="136"/>
                </a:cubicBezTo>
                <a:cubicBezTo>
                  <a:pt x="419" y="136"/>
                  <a:pt x="416" y="134"/>
                  <a:pt x="413" y="130"/>
                </a:cubicBezTo>
                <a:cubicBezTo>
                  <a:pt x="393" y="99"/>
                  <a:pt x="393" y="99"/>
                  <a:pt x="393" y="99"/>
                </a:cubicBezTo>
                <a:cubicBezTo>
                  <a:pt x="393" y="151"/>
                  <a:pt x="393" y="151"/>
                  <a:pt x="393" y="151"/>
                </a:cubicBezTo>
                <a:cubicBezTo>
                  <a:pt x="393" y="159"/>
                  <a:pt x="388" y="163"/>
                  <a:pt x="382" y="163"/>
                </a:cubicBezTo>
                <a:cubicBezTo>
                  <a:pt x="375" y="163"/>
                  <a:pt x="370" y="159"/>
                  <a:pt x="370" y="151"/>
                </a:cubicBezTo>
                <a:cubicBezTo>
                  <a:pt x="370" y="66"/>
                  <a:pt x="370" y="66"/>
                  <a:pt x="370" y="66"/>
                </a:cubicBezTo>
                <a:cubicBezTo>
                  <a:pt x="370" y="59"/>
                  <a:pt x="377" y="55"/>
                  <a:pt x="383" y="55"/>
                </a:cubicBezTo>
                <a:cubicBezTo>
                  <a:pt x="389" y="55"/>
                  <a:pt x="393" y="57"/>
                  <a:pt x="396" y="62"/>
                </a:cubicBezTo>
                <a:cubicBezTo>
                  <a:pt x="424" y="107"/>
                  <a:pt x="424" y="107"/>
                  <a:pt x="424" y="107"/>
                </a:cubicBezTo>
                <a:cubicBezTo>
                  <a:pt x="451" y="62"/>
                  <a:pt x="451" y="62"/>
                  <a:pt x="451" y="62"/>
                </a:cubicBezTo>
                <a:cubicBezTo>
                  <a:pt x="454" y="57"/>
                  <a:pt x="458" y="55"/>
                  <a:pt x="464" y="55"/>
                </a:cubicBezTo>
                <a:cubicBezTo>
                  <a:pt x="470" y="55"/>
                  <a:pt x="477" y="59"/>
                  <a:pt x="477" y="66"/>
                </a:cubicBezTo>
                <a:lnTo>
                  <a:pt x="477" y="151"/>
                </a:lnTo>
                <a:close/>
                <a:moveTo>
                  <a:pt x="572" y="56"/>
                </a:moveTo>
                <a:cubicBezTo>
                  <a:pt x="584" y="56"/>
                  <a:pt x="594" y="59"/>
                  <a:pt x="600" y="65"/>
                </a:cubicBezTo>
                <a:cubicBezTo>
                  <a:pt x="605" y="70"/>
                  <a:pt x="607" y="76"/>
                  <a:pt x="607" y="83"/>
                </a:cubicBezTo>
                <a:cubicBezTo>
                  <a:pt x="607" y="96"/>
                  <a:pt x="601" y="102"/>
                  <a:pt x="593" y="107"/>
                </a:cubicBezTo>
                <a:cubicBezTo>
                  <a:pt x="605" y="111"/>
                  <a:pt x="613" y="118"/>
                  <a:pt x="613" y="133"/>
                </a:cubicBezTo>
                <a:cubicBezTo>
                  <a:pt x="613" y="153"/>
                  <a:pt x="597" y="162"/>
                  <a:pt x="573" y="162"/>
                </a:cubicBezTo>
                <a:cubicBezTo>
                  <a:pt x="534" y="162"/>
                  <a:pt x="534" y="162"/>
                  <a:pt x="534" y="162"/>
                </a:cubicBezTo>
                <a:cubicBezTo>
                  <a:pt x="527" y="162"/>
                  <a:pt x="522" y="158"/>
                  <a:pt x="522" y="150"/>
                </a:cubicBezTo>
                <a:cubicBezTo>
                  <a:pt x="522" y="68"/>
                  <a:pt x="522" y="68"/>
                  <a:pt x="522" y="68"/>
                </a:cubicBezTo>
                <a:cubicBezTo>
                  <a:pt x="522" y="60"/>
                  <a:pt x="527" y="56"/>
                  <a:pt x="534" y="56"/>
                </a:cubicBezTo>
                <a:lnTo>
                  <a:pt x="572" y="56"/>
                </a:lnTo>
                <a:close/>
                <a:moveTo>
                  <a:pt x="108" y="68"/>
                </a:moveTo>
                <a:cubicBezTo>
                  <a:pt x="108" y="60"/>
                  <a:pt x="113" y="56"/>
                  <a:pt x="120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71" y="56"/>
                  <a:pt x="181" y="60"/>
                  <a:pt x="188" y="67"/>
                </a:cubicBezTo>
                <a:cubicBezTo>
                  <a:pt x="194" y="73"/>
                  <a:pt x="197" y="81"/>
                  <a:pt x="197" y="91"/>
                </a:cubicBezTo>
                <a:cubicBezTo>
                  <a:pt x="197" y="91"/>
                  <a:pt x="197" y="91"/>
                  <a:pt x="197" y="91"/>
                </a:cubicBezTo>
                <a:cubicBezTo>
                  <a:pt x="197" y="108"/>
                  <a:pt x="189" y="118"/>
                  <a:pt x="176" y="124"/>
                </a:cubicBezTo>
                <a:cubicBezTo>
                  <a:pt x="192" y="143"/>
                  <a:pt x="192" y="143"/>
                  <a:pt x="192" y="143"/>
                </a:cubicBezTo>
                <a:cubicBezTo>
                  <a:pt x="194" y="146"/>
                  <a:pt x="196" y="148"/>
                  <a:pt x="196" y="152"/>
                </a:cubicBezTo>
                <a:cubicBezTo>
                  <a:pt x="196" y="158"/>
                  <a:pt x="190" y="163"/>
                  <a:pt x="184" y="163"/>
                </a:cubicBezTo>
                <a:cubicBezTo>
                  <a:pt x="179" y="163"/>
                  <a:pt x="176" y="161"/>
                  <a:pt x="173" y="157"/>
                </a:cubicBezTo>
                <a:cubicBezTo>
                  <a:pt x="150" y="128"/>
                  <a:pt x="150" y="128"/>
                  <a:pt x="150" y="128"/>
                </a:cubicBezTo>
                <a:cubicBezTo>
                  <a:pt x="132" y="128"/>
                  <a:pt x="132" y="128"/>
                  <a:pt x="132" y="128"/>
                </a:cubicBezTo>
                <a:cubicBezTo>
                  <a:pt x="132" y="151"/>
                  <a:pt x="132" y="151"/>
                  <a:pt x="132" y="151"/>
                </a:cubicBezTo>
                <a:cubicBezTo>
                  <a:pt x="132" y="159"/>
                  <a:pt x="127" y="163"/>
                  <a:pt x="120" y="163"/>
                </a:cubicBezTo>
                <a:cubicBezTo>
                  <a:pt x="113" y="163"/>
                  <a:pt x="108" y="159"/>
                  <a:pt x="108" y="151"/>
                </a:cubicBezTo>
                <a:lnTo>
                  <a:pt x="108" y="68"/>
                </a:lnTo>
                <a:close/>
                <a:moveTo>
                  <a:pt x="811" y="162"/>
                </a:moveTo>
                <a:cubicBezTo>
                  <a:pt x="804" y="162"/>
                  <a:pt x="799" y="158"/>
                  <a:pt x="799" y="150"/>
                </a:cubicBezTo>
                <a:cubicBezTo>
                  <a:pt x="799" y="67"/>
                  <a:pt x="799" y="67"/>
                  <a:pt x="799" y="67"/>
                </a:cubicBezTo>
                <a:cubicBezTo>
                  <a:pt x="799" y="59"/>
                  <a:pt x="804" y="55"/>
                  <a:pt x="811" y="55"/>
                </a:cubicBezTo>
                <a:cubicBezTo>
                  <a:pt x="818" y="55"/>
                  <a:pt x="823" y="59"/>
                  <a:pt x="823" y="67"/>
                </a:cubicBezTo>
                <a:cubicBezTo>
                  <a:pt x="823" y="141"/>
                  <a:pt x="823" y="141"/>
                  <a:pt x="823" y="141"/>
                </a:cubicBezTo>
                <a:cubicBezTo>
                  <a:pt x="866" y="141"/>
                  <a:pt x="866" y="141"/>
                  <a:pt x="866" y="141"/>
                </a:cubicBezTo>
                <a:cubicBezTo>
                  <a:pt x="872" y="141"/>
                  <a:pt x="877" y="145"/>
                  <a:pt x="877" y="152"/>
                </a:cubicBezTo>
                <a:cubicBezTo>
                  <a:pt x="877" y="158"/>
                  <a:pt x="872" y="162"/>
                  <a:pt x="866" y="162"/>
                </a:cubicBezTo>
                <a:lnTo>
                  <a:pt x="811" y="162"/>
                </a:lnTo>
                <a:close/>
                <a:moveTo>
                  <a:pt x="919" y="162"/>
                </a:moveTo>
                <a:cubicBezTo>
                  <a:pt x="913" y="162"/>
                  <a:pt x="908" y="158"/>
                  <a:pt x="908" y="150"/>
                </a:cubicBezTo>
                <a:cubicBezTo>
                  <a:pt x="908" y="67"/>
                  <a:pt x="908" y="67"/>
                  <a:pt x="908" y="67"/>
                </a:cubicBezTo>
                <a:cubicBezTo>
                  <a:pt x="908" y="59"/>
                  <a:pt x="913" y="55"/>
                  <a:pt x="919" y="55"/>
                </a:cubicBezTo>
                <a:cubicBezTo>
                  <a:pt x="926" y="55"/>
                  <a:pt x="931" y="59"/>
                  <a:pt x="931" y="67"/>
                </a:cubicBezTo>
                <a:cubicBezTo>
                  <a:pt x="931" y="141"/>
                  <a:pt x="931" y="141"/>
                  <a:pt x="931" y="141"/>
                </a:cubicBezTo>
                <a:cubicBezTo>
                  <a:pt x="975" y="141"/>
                  <a:pt x="975" y="141"/>
                  <a:pt x="975" y="141"/>
                </a:cubicBezTo>
                <a:cubicBezTo>
                  <a:pt x="981" y="141"/>
                  <a:pt x="985" y="145"/>
                  <a:pt x="985" y="152"/>
                </a:cubicBezTo>
                <a:cubicBezTo>
                  <a:pt x="985" y="158"/>
                  <a:pt x="981" y="162"/>
                  <a:pt x="975" y="162"/>
                </a:cubicBezTo>
                <a:lnTo>
                  <a:pt x="919" y="16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798513" y="312840"/>
            <a:ext cx="10588625" cy="74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1800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 noProof="0" dirty="0"/>
              <a:t>Presentation title</a:t>
            </a:r>
            <a:br>
              <a:rPr lang="en-GB" noProof="0" dirty="0"/>
            </a:br>
            <a:r>
              <a:rPr lang="en-GB" noProof="0" dirty="0"/>
              <a:t>(in cyan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07200" y="6282000"/>
            <a:ext cx="479938" cy="15561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 b="0" baseline="0"/>
            </a:lvl1pPr>
          </a:lstStyle>
          <a:p>
            <a:fld id="{31421AFA-3AE7-4CEA-BC9B-447859BED57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31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8512" y="1648207"/>
            <a:ext cx="10588625" cy="4060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4 No bullet text 18</a:t>
            </a:r>
          </a:p>
          <a:p>
            <a:pPr lvl="4"/>
            <a:r>
              <a:rPr lang="en-GB" noProof="0" dirty="0"/>
              <a:t>5 </a:t>
            </a:r>
            <a:r>
              <a:rPr lang="en-GB" noProof="0" dirty="0" err="1"/>
              <a:t>Megaheader</a:t>
            </a:r>
            <a:r>
              <a:rPr lang="en-GB" noProof="0" dirty="0"/>
              <a:t> caps 48</a:t>
            </a:r>
          </a:p>
          <a:p>
            <a:pPr lvl="5"/>
            <a:r>
              <a:rPr lang="en-GB" noProof="0" dirty="0"/>
              <a:t>6 Header caps 18</a:t>
            </a:r>
          </a:p>
          <a:p>
            <a:pPr lvl="6"/>
            <a:r>
              <a:rPr lang="en-GB" noProof="0" dirty="0"/>
              <a:t>7 Text 18</a:t>
            </a:r>
          </a:p>
          <a:p>
            <a:pPr lvl="7"/>
            <a:r>
              <a:rPr lang="en-GB" noProof="0" dirty="0"/>
              <a:t>8 Number 16</a:t>
            </a:r>
          </a:p>
          <a:p>
            <a:pPr lvl="8"/>
            <a:r>
              <a:rPr lang="en-GB" noProof="0" dirty="0"/>
              <a:t>9 Letter 16</a:t>
            </a:r>
          </a:p>
          <a:p>
            <a:pPr lvl="8"/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9E4955-7821-481C-9AF7-C7D9376755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7288" y="6281956"/>
            <a:ext cx="8143876" cy="155656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baseline="0"/>
            </a:lvl1pPr>
          </a:lstStyle>
          <a:p>
            <a:pPr algn="r"/>
            <a:r>
              <a:rPr lang="en-GB"/>
              <a:t>KS FoU-prosjekt 184002</a:t>
            </a:r>
            <a:endParaRPr lang="en-GB" dirty="0"/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ADC3E656-DC3F-4718-B1B2-E5B4B66615C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2289" y="6142932"/>
            <a:ext cx="704849" cy="1223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en-GB" sz="800" smtClean="0">
                <a:solidFill>
                  <a:schemeClr val="tx1"/>
                </a:solidFill>
              </a:defRPr>
            </a:lvl1pPr>
          </a:lstStyle>
          <a:p>
            <a:pPr algn="r"/>
            <a:fld id="{3C356F08-8D32-4E40-8863-FB15FECD94A9}" type="datetime1">
              <a:rPr lang="en-GB" smtClean="0"/>
              <a:t>30/08/2019</a:t>
            </a:fld>
            <a:endParaRPr lang="da-DK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135459E-96A0-4D48-B1D9-A034EE07E024}"/>
              </a:ext>
            </a:extLst>
          </p:cNvPr>
          <p:cNvGrpSpPr/>
          <p:nvPr userDrawn="1"/>
        </p:nvGrpSpPr>
        <p:grpSpPr>
          <a:xfrm>
            <a:off x="-1972094" y="1634370"/>
            <a:ext cx="1796791" cy="2907588"/>
            <a:chOff x="-1899137" y="-1"/>
            <a:chExt cx="1796791" cy="290758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7DF113FF-8BE3-4207-A5C6-F4579EED1B78}"/>
                </a:ext>
              </a:extLst>
            </p:cNvPr>
            <p:cNvGrpSpPr/>
            <p:nvPr userDrawn="1"/>
          </p:nvGrpSpPr>
          <p:grpSpPr>
            <a:xfrm>
              <a:off x="-1899137" y="-1"/>
              <a:ext cx="1796791" cy="2907588"/>
              <a:chOff x="9009867" y="1645032"/>
              <a:chExt cx="2365739" cy="3828268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5359A05F-1860-4448-A740-55E89B6688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0"/>
              <a:stretch>
                <a:fillRect/>
              </a:stretch>
            </p:blipFill>
            <p:spPr>
              <a:xfrm>
                <a:off x="9182748" y="1852126"/>
                <a:ext cx="599367" cy="280555"/>
              </a:xfrm>
              <a:prstGeom prst="rect">
                <a:avLst/>
              </a:prstGeom>
            </p:spPr>
          </p:pic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18399B32-2EE3-49AE-80A0-6797B01E89E6}"/>
                  </a:ext>
                </a:extLst>
              </p:cNvPr>
              <p:cNvSpPr txBox="1"/>
              <p:nvPr/>
            </p:nvSpPr>
            <p:spPr bwMode="auto">
              <a:xfrm>
                <a:off x="9199275" y="2239970"/>
                <a:ext cx="1887588" cy="8509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12700" marR="0" indent="-25400" algn="l" defTabSz="457200" rtl="0" eaLnBrk="0" fontAlgn="base" latinLnBrk="0" hangingPunct="0"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tabLst/>
                </a:pP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LIST LEVELS (BULLET LEVELS) </a:t>
                </a: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b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</a:br>
                <a:r>
                  <a:rPr kumimoji="0" lang="en-GB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Verdana"/>
                    <a:ea typeface="Verdana" pitchFamily="34" charset="0"/>
                    <a:cs typeface="Verdana" pitchFamily="34" charset="0"/>
                  </a:rPr>
                  <a:t>USE ABOVE TOOL IN THE TAB HOME TO CHANGE TEXT STYLES (ALSO USE TAB FUNCTION)</a:t>
                </a: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6A251040-79B2-4E75-B580-29B9D6CC1B9D}"/>
                  </a:ext>
                </a:extLst>
              </p:cNvPr>
              <p:cNvSpPr/>
              <p:nvPr/>
            </p:nvSpPr>
            <p:spPr>
              <a:xfrm>
                <a:off x="9009867" y="1645032"/>
                <a:ext cx="2365739" cy="3828268"/>
              </a:xfrm>
              <a:prstGeom prst="roundRect">
                <a:avLst>
                  <a:gd name="adj" fmla="val 3193"/>
                </a:avLst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225B3411-6214-4AE2-A1EF-BEE63EC00B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1"/>
            <a:stretch>
              <a:fillRect/>
            </a:stretch>
          </p:blipFill>
          <p:spPr>
            <a:xfrm>
              <a:off x="-1884053" y="1200637"/>
              <a:ext cx="1418614" cy="1444137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34" r:id="rId2"/>
    <p:sldLayoutId id="2147483797" r:id="rId3"/>
    <p:sldLayoutId id="2147483748" r:id="rId4"/>
    <p:sldLayoutId id="2147483788" r:id="rId5"/>
    <p:sldLayoutId id="2147483798" r:id="rId6"/>
    <p:sldLayoutId id="2147483737" r:id="rId7"/>
    <p:sldLayoutId id="2147483791" r:id="rId8"/>
    <p:sldLayoutId id="2147483770" r:id="rId9"/>
    <p:sldLayoutId id="2147483792" r:id="rId10"/>
    <p:sldLayoutId id="2147483793" r:id="rId11"/>
    <p:sldLayoutId id="2147483771" r:id="rId12"/>
    <p:sldLayoutId id="2147483795" r:id="rId13"/>
    <p:sldLayoutId id="2147483794" r:id="rId14"/>
    <p:sldLayoutId id="2147483768" r:id="rId15"/>
    <p:sldLayoutId id="2147483773" r:id="rId16"/>
    <p:sldLayoutId id="2147483769" r:id="rId17"/>
    <p:sldLayoutId id="2147483772" r:id="rId18"/>
    <p:sldLayoutId id="2147483774" r:id="rId19"/>
    <p:sldLayoutId id="2147483775" r:id="rId20"/>
    <p:sldLayoutId id="2147483776" r:id="rId21"/>
    <p:sldLayoutId id="2147483796" r:id="rId22"/>
    <p:sldLayoutId id="2147483777" r:id="rId23"/>
    <p:sldLayoutId id="2147483783" r:id="rId24"/>
    <p:sldLayoutId id="2147483782" r:id="rId25"/>
    <p:sldLayoutId id="2147483781" r:id="rId26"/>
    <p:sldLayoutId id="2147483780" r:id="rId27"/>
    <p:sldLayoutId id="2147483779" r:id="rId28"/>
    <p:sldLayoutId id="2147483784" r:id="rId29"/>
    <p:sldLayoutId id="2147483778" r:id="rId30"/>
    <p:sldLayoutId id="2147483785" r:id="rId31"/>
    <p:sldLayoutId id="2147483749" r:id="rId32"/>
    <p:sldLayoutId id="2147483746" r:id="rId33"/>
    <p:sldLayoutId id="2147483787" r:id="rId34"/>
    <p:sldLayoutId id="2147483738" r:id="rId35"/>
    <p:sldLayoutId id="2147483747" r:id="rId36"/>
    <p:sldLayoutId id="2147483767" r:id="rId37"/>
    <p:sldLayoutId id="2147483790" r:id="rId38"/>
  </p:sldLayoutIdLst>
  <p:hf sldNum="0" hdr="0" dt="0"/>
  <p:txStyles>
    <p:titleStyle>
      <a:lvl1pPr algn="l" defTabSz="457189" rtl="0" eaLnBrk="1" fontAlgn="base" hangingPunct="1">
        <a:spcBef>
          <a:spcPct val="0"/>
        </a:spcBef>
        <a:spcAft>
          <a:spcPct val="0"/>
        </a:spcAft>
        <a:defRPr sz="2400" b="1" kern="1200" cap="all" spc="-50" baseline="0">
          <a:solidFill>
            <a:schemeClr val="tx2"/>
          </a:solidFill>
          <a:latin typeface="Verdana"/>
          <a:ea typeface="Verdana" pitchFamily="34" charset="0"/>
          <a:cs typeface="Verdana" pitchFamily="34" charset="0"/>
        </a:defRPr>
      </a:lvl1pPr>
      <a:lvl2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2pPr>
      <a:lvl3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3pPr>
      <a:lvl4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4pPr>
      <a:lvl5pPr algn="l" defTabSz="4571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-111" charset="0"/>
          <a:ea typeface="Verdana" pitchFamily="34" charset="0"/>
          <a:cs typeface="Verdana" pitchFamily="34" charset="0"/>
        </a:defRPr>
      </a:lvl5pPr>
      <a:lvl6pPr marL="457189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6pPr>
      <a:lvl7pPr marL="914377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7pPr>
      <a:lvl8pPr marL="1371566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8pPr>
      <a:lvl9pPr marL="1828754" algn="l" defTabSz="457189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Verdana" pitchFamily="-111" charset="0"/>
          <a:ea typeface="Verdana" pitchFamily="34" charset="0"/>
          <a:cs typeface="Verdana" pitchFamily="34" charset="0"/>
        </a:defRPr>
      </a:lvl9pPr>
    </p:titleStyle>
    <p:bodyStyle>
      <a:lvl1pPr marL="2520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kern="1200" spc="-50" baseline="0">
          <a:solidFill>
            <a:schemeClr val="tx1"/>
          </a:solidFill>
          <a:latin typeface="Verdana"/>
          <a:ea typeface="Verdana" pitchFamily="34" charset="0"/>
          <a:cs typeface="Verdana" pitchFamily="34" charset="0"/>
        </a:defRPr>
      </a:lvl1pPr>
      <a:lvl2pPr marL="6480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6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2pPr>
      <a:lvl3pPr marL="979200" indent="-25200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Verdana" pitchFamily="34" charset="0"/>
        <a:buChar char="•"/>
        <a:defRPr sz="14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3pPr>
      <a:lvl4pPr marL="0" indent="0" algn="l" defTabSz="457189" rtl="0" eaLnBrk="1" fontAlgn="base" hangingPunct="1">
        <a:lnSpc>
          <a:spcPct val="10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1800" kern="1200" spc="-50" baseline="0">
          <a:solidFill>
            <a:schemeClr val="tx1"/>
          </a:solidFill>
          <a:latin typeface="Verdana"/>
          <a:ea typeface="Verdana" pitchFamily="34" charset="0"/>
          <a:cs typeface="+mn-cs"/>
        </a:defRPr>
      </a:lvl4pPr>
      <a:lvl5pPr marL="0" indent="0" algn="l" defTabSz="457189" rtl="0" eaLnBrk="1" fontAlgn="base" hangingPunct="1">
        <a:lnSpc>
          <a:spcPct val="80000"/>
        </a:lnSpc>
        <a:spcBef>
          <a:spcPct val="0"/>
        </a:spcBef>
        <a:spcAft>
          <a:spcPts val="1200"/>
        </a:spcAft>
        <a:buFont typeface="Arial" panose="020B0604020202020204" pitchFamily="34" charset="0"/>
        <a:buChar char="​"/>
        <a:defRPr sz="4800" b="1" kern="1200" cap="all" spc="-100" baseline="0">
          <a:solidFill>
            <a:schemeClr val="tx1"/>
          </a:solidFill>
          <a:latin typeface="Verdana"/>
          <a:ea typeface="Verdana" pitchFamily="34" charset="0"/>
          <a:cs typeface="+mn-cs"/>
        </a:defRPr>
      </a:lvl5pPr>
      <a:lvl6pPr marL="0" indent="0" algn="l" defTabSz="457189" rtl="0" eaLnBrk="1" latinLnBrk="0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​"/>
        <a:defRPr sz="1800" b="1" kern="1200" cap="all" spc="-50" baseline="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457189" rtl="0" eaLnBrk="1" latinLnBrk="0" hangingPunct="1"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800" i="0" kern="1200" spc="-50">
          <a:solidFill>
            <a:schemeClr val="bg2"/>
          </a:solidFill>
          <a:latin typeface="+mn-lt"/>
          <a:ea typeface="+mn-ea"/>
          <a:cs typeface="+mn-cs"/>
        </a:defRPr>
      </a:lvl7pPr>
      <a:lvl8pPr marL="648000" indent="-252000" algn="l" defTabSz="457189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rabi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52000" algn="l" defTabSz="457189" rtl="0" eaLnBrk="1" latinLnBrk="0" hangingPunct="1">
        <a:spcBef>
          <a:spcPts val="0"/>
        </a:spcBef>
        <a:spcAft>
          <a:spcPts val="1200"/>
        </a:spcAft>
        <a:buClr>
          <a:schemeClr val="bg2"/>
        </a:buClr>
        <a:buFont typeface="+mj-lt"/>
        <a:buAutoNum type="alphaUcPeriod"/>
        <a:defRPr sz="1600" kern="1200" spc="-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6659" userDrawn="1">
          <p15:clr>
            <a:srgbClr val="F26B43"/>
          </p15:clr>
        </p15:guide>
        <p15:guide id="2" pos="7173" userDrawn="1">
          <p15:clr>
            <a:srgbClr val="F26B43"/>
          </p15:clr>
        </p15:guide>
        <p15:guide id="3" orient="horz" pos="1036" userDrawn="1">
          <p15:clr>
            <a:srgbClr val="F26B43"/>
          </p15:clr>
        </p15:guide>
        <p15:guide id="4" orient="horz" pos="3595" userDrawn="1">
          <p15:clr>
            <a:srgbClr val="F26B43"/>
          </p15:clr>
        </p15:guide>
        <p15:guide id="5" pos="6146" userDrawn="1">
          <p15:clr>
            <a:srgbClr val="F26B43"/>
          </p15:clr>
        </p15:guide>
        <p15:guide id="6" pos="5633" userDrawn="1">
          <p15:clr>
            <a:srgbClr val="F26B43"/>
          </p15:clr>
        </p15:guide>
        <p15:guide id="7" pos="5120" userDrawn="1">
          <p15:clr>
            <a:srgbClr val="F26B43"/>
          </p15:clr>
        </p15:guide>
        <p15:guide id="8" pos="4607" userDrawn="1">
          <p15:clr>
            <a:srgbClr val="F26B43"/>
          </p15:clr>
        </p15:guide>
        <p15:guide id="9" pos="4094" userDrawn="1">
          <p15:clr>
            <a:srgbClr val="F26B43"/>
          </p15:clr>
        </p15:guide>
        <p15:guide id="10" pos="3581" userDrawn="1">
          <p15:clr>
            <a:srgbClr val="F26B43"/>
          </p15:clr>
        </p15:guide>
        <p15:guide id="11" pos="3068" userDrawn="1">
          <p15:clr>
            <a:srgbClr val="F26B43"/>
          </p15:clr>
        </p15:guide>
        <p15:guide id="12" pos="2555" userDrawn="1">
          <p15:clr>
            <a:srgbClr val="F26B43"/>
          </p15:clr>
        </p15:guide>
        <p15:guide id="13" pos="2042" userDrawn="1">
          <p15:clr>
            <a:srgbClr val="F26B43"/>
          </p15:clr>
        </p15:guide>
        <p15:guide id="14" pos="1529" userDrawn="1">
          <p15:clr>
            <a:srgbClr val="F26B43"/>
          </p15:clr>
        </p15:guide>
        <p15:guide id="15" pos="1016" userDrawn="1">
          <p15:clr>
            <a:srgbClr val="F26B43"/>
          </p15:clr>
        </p15:guide>
        <p15:guide id="16" pos="50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28173D-CC25-4591-A321-E535266322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401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AF00E-CCDB-41F4-BFB3-8122257C23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4013" cy="43529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7C011A-FA58-4160-9878-E89B8D0C3B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79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5849D6-DB8F-4AA9-8012-91B19C0F9092}" type="datetime1">
              <a:rPr lang="en-GB" smtClean="0"/>
              <a:t>30/08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A747BB-BCCC-460A-B987-1D62F5AE380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7938"/>
            <a:ext cx="4113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KS FoU-prosjekt 18400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6C92CB-ECA7-4303-9AB8-593E447AD9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09013" y="635793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ED8CDE-F345-4822-8591-4C245B785D9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0216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6.jpeg"/><Relationship Id="rId4" Type="http://schemas.openxmlformats.org/officeDocument/2006/relationships/tags" Target="../tags/tag4.xml"/><Relationship Id="rId9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.xml"/><Relationship Id="rId9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.xml"/><Relationship Id="rId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7.jpg"/><Relationship Id="rId4" Type="http://schemas.openxmlformats.org/officeDocument/2006/relationships/tags" Target="../tags/tag11.xml"/><Relationship Id="rId9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3.xml"/><Relationship Id="rId7" Type="http://schemas.openxmlformats.org/officeDocument/2006/relationships/oleObject" Target="../embeddings/oleObject4.bin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8.jpg"/><Relationship Id="rId4" Type="http://schemas.openxmlformats.org/officeDocument/2006/relationships/tags" Target="../tags/tag14.xml"/><Relationship Id="rId9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7.xml"/><Relationship Id="rId9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57BD94E-BFFD-4681-814D-DAF47C98D04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46808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FFC1FD-DC3C-4285-86F4-C06C3E8F345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en-GB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FLD_PresentationTitle">
            <a:extLst>
              <a:ext uri="{FF2B5EF4-FFF2-40B4-BE49-F238E27FC236}">
                <a16:creationId xmlns:a16="http://schemas.microsoft.com/office/drawing/2014/main" id="{C9A28A98-FCC3-491B-88DD-1C48456968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74564" y="452592"/>
            <a:ext cx="5754836" cy="681548"/>
          </a:xfrm>
        </p:spPr>
        <p:txBody>
          <a:bodyPr/>
          <a:lstStyle/>
          <a:p>
            <a:r>
              <a:rPr lang="en-GB" sz="3200" cap="none" dirty="0">
                <a:solidFill>
                  <a:schemeClr val="bg2"/>
                </a:solidFill>
              </a:rPr>
              <a:t>KS FOU-PROSJEKT 184005 </a:t>
            </a:r>
          </a:p>
        </p:txBody>
      </p:sp>
      <p:sp>
        <p:nvSpPr>
          <p:cNvPr id="3" name="FLD_PresentationTitle_2">
            <a:extLst>
              <a:ext uri="{FF2B5EF4-FFF2-40B4-BE49-F238E27FC236}">
                <a16:creationId xmlns:a16="http://schemas.microsoft.com/office/drawing/2014/main" id="{47591E0B-C45B-4376-B200-46F184CB5A5E}"/>
              </a:ext>
            </a:extLst>
          </p:cNvPr>
          <p:cNvSpPr>
            <a:spLocks noGrp="1"/>
          </p:cNvSpPr>
          <p:nvPr>
            <p:ph type="subTitle" sz="quarter" idx="1"/>
          </p:nvPr>
        </p:nvSpPr>
        <p:spPr>
          <a:xfrm>
            <a:off x="874564" y="1564288"/>
            <a:ext cx="5126230" cy="1254562"/>
          </a:xfrm>
        </p:spPr>
        <p:txBody>
          <a:bodyPr/>
          <a:lstStyle/>
          <a:p>
            <a:r>
              <a:rPr lang="en-GB" sz="2800" cap="none" dirty="0"/>
              <a:t>PRAKTISERING AV BARNEHAGEAVTALEN </a:t>
            </a:r>
          </a:p>
          <a:p>
            <a:r>
              <a:rPr lang="en-GB" sz="2800" cap="none" dirty="0"/>
              <a:t>SFS 2201</a:t>
            </a:r>
          </a:p>
          <a:p>
            <a:endParaRPr lang="en-GB" sz="3600" cap="none" dirty="0"/>
          </a:p>
          <a:p>
            <a:endParaRPr lang="en-GB" sz="3600" cap="none" dirty="0"/>
          </a:p>
          <a:p>
            <a:endParaRPr lang="en-GB" sz="3600" cap="none" dirty="0"/>
          </a:p>
          <a:p>
            <a:endParaRPr lang="en-GB" sz="3600" cap="none" dirty="0"/>
          </a:p>
          <a:p>
            <a:r>
              <a:rPr lang="en-GB" sz="2400" cap="none" dirty="0">
                <a:solidFill>
                  <a:schemeClr val="bg2"/>
                </a:solidFill>
              </a:rPr>
              <a:t>HOVEDFUNN</a:t>
            </a:r>
          </a:p>
        </p:txBody>
      </p:sp>
      <p:pic>
        <p:nvPicPr>
          <p:cNvPr id="5" name="Picture 2" descr="C:\Users\idag\AppData\Local\Microsoft\Windows\Temporary Internet Files\Content.Outlook\JZ7YCCZ4\fou-rapportlogo (2).jpg">
            <a:extLst>
              <a:ext uri="{FF2B5EF4-FFF2-40B4-BE49-F238E27FC236}">
                <a16:creationId xmlns:a16="http://schemas.microsoft.com/office/drawing/2014/main" id="{E7607A06-BB70-4DA1-A5E3-7D0A066219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164" y="5966711"/>
            <a:ext cx="1091256" cy="4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4BCBB6A-6D0B-4AAB-91B8-4C34540803A2}"/>
              </a:ext>
            </a:extLst>
          </p:cNvPr>
          <p:cNvPicPr/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620" y="1564288"/>
            <a:ext cx="5601019" cy="374564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2868177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C63AA3-5A40-4BB0-8B2E-5BD2BEE7A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2" y="1059023"/>
            <a:ext cx="10588625" cy="4497140"/>
          </a:xfrm>
        </p:spPr>
        <p:txBody>
          <a:bodyPr/>
          <a:lstStyle/>
          <a:p>
            <a:r>
              <a:rPr lang="nb-NO" sz="1400" dirty="0"/>
              <a:t>Begrepet </a:t>
            </a:r>
            <a:r>
              <a:rPr lang="nb-NO" sz="1400" i="1" dirty="0"/>
              <a:t>plantid </a:t>
            </a:r>
            <a:r>
              <a:rPr lang="nb-NO" sz="1400" dirty="0"/>
              <a:t>omfatter tiden de pedagogisk ansatte i barnehagen har til rådighet for utviklingsarbeid, planlegging av pedagogisk aktivitet, samt for- og etterarbeid tilknyttet dette. </a:t>
            </a:r>
          </a:p>
          <a:p>
            <a:pPr marL="0" indent="0">
              <a:buNone/>
            </a:pPr>
            <a:endParaRPr lang="nb-NO" sz="1400" dirty="0"/>
          </a:p>
          <a:p>
            <a:r>
              <a:rPr lang="nb-NO" sz="1400" dirty="0"/>
              <a:t>Bestemmelsen om plantid for pedagogene i barnehagen er nedfelt i punkt 3.2 i SFS 2201. Dette punktet har vært tema i siste forhandlinger. Per i dag (første halvår 2019), lyder bestemmelsen om plantid som følger:</a:t>
            </a:r>
          </a:p>
          <a:p>
            <a:pPr marL="396000" lvl="1" indent="0">
              <a:buNone/>
            </a:pPr>
            <a:endParaRPr lang="nb-NO" sz="1400" i="1" dirty="0"/>
          </a:p>
          <a:p>
            <a:pPr marL="396000" lvl="1" indent="0">
              <a:buNone/>
            </a:pPr>
            <a:r>
              <a:rPr lang="nb-NO" sz="1400" i="1" dirty="0"/>
              <a:t>Den ordinære arbeidstiden er 37,5 timer pr. uke. Minst 4 timer i gjennomsnitt pr. uke av den ordinære arbeidstiden skal anvendes til planlegging, for- og etterarbeid for pedagogiske ledere/barnehagelærere. Organiseringen av denne tiden fastsettes i samråd med det pedagogiske personalet.  Det er leders ansvar å sikre at dette arbeidet kan utføres som forutsatt, både individuelt og sammen med andre, og at de fysiske arbeidsforholdene er tilfredsstillende.</a:t>
            </a:r>
            <a:endParaRPr lang="nb-NO" sz="1400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49C91E-6BAC-4D66-BA74-046603C54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3" y="281256"/>
            <a:ext cx="10588624" cy="415430"/>
          </a:xfrm>
        </p:spPr>
        <p:txBody>
          <a:bodyPr/>
          <a:lstStyle/>
          <a:p>
            <a:r>
              <a:rPr lang="en-GB" dirty="0" err="1"/>
              <a:t>Bakgrunn</a:t>
            </a:r>
            <a:r>
              <a:rPr lang="en-GB" dirty="0"/>
              <a:t> for </a:t>
            </a:r>
            <a:r>
              <a:rPr lang="en-GB" dirty="0" err="1"/>
              <a:t>Fou-prosjektet</a:t>
            </a:r>
            <a:endParaRPr lang="en-GB" dirty="0"/>
          </a:p>
        </p:txBody>
      </p:sp>
      <p:pic>
        <p:nvPicPr>
          <p:cNvPr id="7" name="Picture 2" descr="C:\Users\idag\AppData\Local\Microsoft\Windows\Temporary Internet Files\Content.Outlook\JZ7YCCZ4\fou-rapportlogo (2).jpg">
            <a:extLst>
              <a:ext uri="{FF2B5EF4-FFF2-40B4-BE49-F238E27FC236}">
                <a16:creationId xmlns:a16="http://schemas.microsoft.com/office/drawing/2014/main" id="{EC38FFCA-3386-422A-9C15-6CFE47CAF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164" y="5966711"/>
            <a:ext cx="1091256" cy="4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15FE6-6208-4AD4-A291-D80130254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8544" y="6578332"/>
            <a:ext cx="8143876" cy="155656"/>
          </a:xfrm>
        </p:spPr>
        <p:txBody>
          <a:bodyPr/>
          <a:lstStyle/>
          <a:p>
            <a:pPr algn="r"/>
            <a:r>
              <a:rPr lang="en-GB" dirty="0"/>
              <a:t>KS </a:t>
            </a:r>
            <a:r>
              <a:rPr lang="en-GB" dirty="0" err="1"/>
              <a:t>FoU-prosjekt</a:t>
            </a:r>
            <a:r>
              <a:rPr lang="en-GB" dirty="0"/>
              <a:t> 184005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116775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p14="http://schemas.microsoft.com/office/powerpoint/2010/main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329971-B4B3-4A32-8EC4-2AF7AFE71AA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1554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329971-B4B3-4A32-8EC4-2AF7AFE71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F79ABC-A453-4586-B9DE-322902C956B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en-GB" sz="2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C63AA3-5A40-4BB0-8B2E-5BD2BEE7A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2" y="1180315"/>
            <a:ext cx="10588625" cy="4497140"/>
          </a:xfrm>
        </p:spPr>
        <p:txBody>
          <a:bodyPr/>
          <a:lstStyle/>
          <a:p>
            <a:r>
              <a:rPr lang="nb-NO" sz="1400" dirty="0"/>
              <a:t>Etablere et oppdatert og grundig kunnskapsgrunnlag om praktisering av plantid i kommunale barnehager, herunder</a:t>
            </a:r>
          </a:p>
          <a:p>
            <a:pPr lvl="1"/>
            <a:r>
              <a:rPr lang="nb-NO" sz="1400" dirty="0">
                <a:cs typeface="Verdana" pitchFamily="34" charset="0"/>
              </a:rPr>
              <a:t>hvordan barnehagene organiserer plantiden</a:t>
            </a:r>
          </a:p>
          <a:p>
            <a:pPr lvl="1"/>
            <a:r>
              <a:rPr lang="nb-NO" sz="1400" dirty="0">
                <a:cs typeface="Verdana" pitchFamily="34" charset="0"/>
              </a:rPr>
              <a:t>hvordan plantiden tas ut og hva den brukes til</a:t>
            </a:r>
          </a:p>
          <a:p>
            <a:pPr lvl="1"/>
            <a:r>
              <a:rPr lang="nb-NO" sz="1400" dirty="0">
                <a:cs typeface="Verdana" pitchFamily="34" charset="0"/>
              </a:rPr>
              <a:t>og hvilke resultater og konsekvenser praktiseringen har for barnehagenes barn og ansatte, samt det pedagogiske tilbudet som gis i barnehagene</a:t>
            </a:r>
          </a:p>
          <a:p>
            <a:endParaRPr lang="nb-NO" sz="1400" dirty="0"/>
          </a:p>
          <a:p>
            <a:r>
              <a:rPr lang="nb-NO" sz="1400" dirty="0"/>
              <a:t>Kartleggingen er gjennomført ved </a:t>
            </a:r>
          </a:p>
          <a:p>
            <a:pPr lvl="1"/>
            <a:r>
              <a:rPr lang="nb-NO" sz="1400" dirty="0"/>
              <a:t>Innledende intervjuer med pedagogisk personale og dokumentgjennomgang</a:t>
            </a:r>
          </a:p>
          <a:p>
            <a:pPr lvl="1"/>
            <a:r>
              <a:rPr lang="nb-NO" sz="1400" dirty="0"/>
              <a:t>Breddeundersøkelse blant barnehagestyrere og -eiere</a:t>
            </a:r>
          </a:p>
          <a:p>
            <a:pPr lvl="1"/>
            <a:r>
              <a:rPr lang="nb-NO" sz="1400" dirty="0"/>
              <a:t>Dybdeundersøkelse i form av case med intervjuer av eiere, styrere og pedagogiske ledere/barnehagelærere</a:t>
            </a:r>
          </a:p>
          <a:p>
            <a:pPr marL="0" indent="0">
              <a:buNone/>
            </a:pPr>
            <a:r>
              <a:rPr lang="nb-NO" sz="1600" dirty="0">
                <a:solidFill>
                  <a:schemeClr val="tx2"/>
                </a:solidFill>
              </a:rPr>
              <a:t>	</a:t>
            </a:r>
            <a:endParaRPr lang="nb-NO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49C91E-6BAC-4D66-BA74-046603C54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3" y="281256"/>
            <a:ext cx="10588624" cy="415430"/>
          </a:xfrm>
        </p:spPr>
        <p:txBody>
          <a:bodyPr/>
          <a:lstStyle/>
          <a:p>
            <a:r>
              <a:rPr lang="en-GB" dirty="0" err="1"/>
              <a:t>Formål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metodisk</a:t>
            </a:r>
            <a:r>
              <a:rPr lang="en-GB" dirty="0"/>
              <a:t> </a:t>
            </a:r>
            <a:r>
              <a:rPr lang="en-GB" dirty="0" err="1"/>
              <a:t>tilnærming</a:t>
            </a:r>
            <a:endParaRPr lang="en-GB" dirty="0"/>
          </a:p>
        </p:txBody>
      </p:sp>
      <p:pic>
        <p:nvPicPr>
          <p:cNvPr id="7" name="Picture 2" descr="C:\Users\idag\AppData\Local\Microsoft\Windows\Temporary Internet Files\Content.Outlook\JZ7YCCZ4\fou-rapportlogo (2).jpg">
            <a:extLst>
              <a:ext uri="{FF2B5EF4-FFF2-40B4-BE49-F238E27FC236}">
                <a16:creationId xmlns:a16="http://schemas.microsoft.com/office/drawing/2014/main" id="{EC38FFCA-3386-422A-9C15-6CFE47CAF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164" y="5966711"/>
            <a:ext cx="1091256" cy="4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15FE6-6208-4AD4-A291-D80130254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8544" y="6578332"/>
            <a:ext cx="8143876" cy="155656"/>
          </a:xfrm>
        </p:spPr>
        <p:txBody>
          <a:bodyPr/>
          <a:lstStyle/>
          <a:p>
            <a:pPr algn="r"/>
            <a:r>
              <a:rPr lang="en-GB" dirty="0"/>
              <a:t>KS </a:t>
            </a:r>
            <a:r>
              <a:rPr lang="en-GB" dirty="0" err="1"/>
              <a:t>FoU-prosjekt</a:t>
            </a:r>
            <a:r>
              <a:rPr lang="en-GB" dirty="0"/>
              <a:t> 184005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5834883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p14="http://schemas.microsoft.com/office/powerpoint/2010/main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329971-B4B3-4A32-8EC4-2AF7AFE71AA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187070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F79ABC-A453-4586-B9DE-322902C956B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en-GB" sz="2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C63AA3-5A40-4BB0-8B2E-5BD2BEE7A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2" y="1469571"/>
            <a:ext cx="10588625" cy="449714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nb-NO" sz="2000" b="1" dirty="0"/>
          </a:p>
          <a:p>
            <a:pPr marL="0" indent="0">
              <a:buNone/>
            </a:pPr>
            <a:endParaRPr lang="nb-NO" sz="160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nb-NO" sz="1600" dirty="0">
                <a:solidFill>
                  <a:schemeClr val="tx2"/>
                </a:solidFill>
              </a:rPr>
              <a:t>	</a:t>
            </a:r>
            <a:endParaRPr lang="nb-NO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49C91E-6BAC-4D66-BA74-046603C54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3" y="281256"/>
            <a:ext cx="10588624" cy="415430"/>
          </a:xfrm>
        </p:spPr>
        <p:txBody>
          <a:bodyPr/>
          <a:lstStyle/>
          <a:p>
            <a:r>
              <a:rPr lang="en-GB" dirty="0" err="1"/>
              <a:t>ORGAnisering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praktiserin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avtalen</a:t>
            </a:r>
            <a:r>
              <a:rPr lang="en-GB" dirty="0"/>
              <a:t> (del 1)</a:t>
            </a:r>
          </a:p>
        </p:txBody>
      </p:sp>
      <p:pic>
        <p:nvPicPr>
          <p:cNvPr id="7" name="Picture 2" descr="C:\Users\idag\AppData\Local\Microsoft\Windows\Temporary Internet Files\Content.Outlook\JZ7YCCZ4\fou-rapportlogo (2).jpg">
            <a:extLst>
              <a:ext uri="{FF2B5EF4-FFF2-40B4-BE49-F238E27FC236}">
                <a16:creationId xmlns:a16="http://schemas.microsoft.com/office/drawing/2014/main" id="{EC38FFCA-3386-422A-9C15-6CFE47CAF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164" y="5966711"/>
            <a:ext cx="1091256" cy="4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15FE6-6208-4AD4-A291-D80130254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8544" y="6578332"/>
            <a:ext cx="8143876" cy="155656"/>
          </a:xfrm>
        </p:spPr>
        <p:txBody>
          <a:bodyPr/>
          <a:lstStyle/>
          <a:p>
            <a:pPr algn="r"/>
            <a:r>
              <a:rPr lang="en-GB" dirty="0"/>
              <a:t>KS </a:t>
            </a:r>
            <a:r>
              <a:rPr lang="en-GB" dirty="0" err="1"/>
              <a:t>FoU-prosjekt</a:t>
            </a:r>
            <a:r>
              <a:rPr lang="en-GB" dirty="0"/>
              <a:t> 184005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560508-6E9D-455D-9046-3371749F522F}"/>
              </a:ext>
            </a:extLst>
          </p:cNvPr>
          <p:cNvSpPr txBox="1">
            <a:spLocks/>
          </p:cNvSpPr>
          <p:nvPr/>
        </p:nvSpPr>
        <p:spPr bwMode="auto">
          <a:xfrm>
            <a:off x="950913" y="1621971"/>
            <a:ext cx="5144294" cy="4497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Det store flertallet av barnehageeierne har god kjennskap til pkt. 3.2 i SFS 2201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Omtrent halvparten av barnehagestyrerne har drøftet bruken av plantid med pedagogisk personale. Avtalene er som oftest nedfelt i halvårs- og ukeplan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Tilnærmet samtlige barnehagestyrere oppgir i breddeundersøkelsen å ha tillit til at det pedagogiske personalet selv organiserer plantiden og til at de benytter plantiden sin god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Halvparten av barnehagestyrerne mener at SFS 2201 gir tilstrekkelig rom for lokale løsninger når det gjelder fordeling av arbeidsoppgaver, tids- og ressursbruk</a:t>
            </a:r>
          </a:p>
        </p:txBody>
      </p:sp>
      <p:pic>
        <p:nvPicPr>
          <p:cNvPr id="11" name="Picture 10" descr="A picture containing outdoor, ground, person, grass&#10;&#10;Description automatically generated">
            <a:extLst>
              <a:ext uri="{FF2B5EF4-FFF2-40B4-BE49-F238E27FC236}">
                <a16:creationId xmlns:a16="http://schemas.microsoft.com/office/drawing/2014/main" id="{A2328DBD-9EEF-41B9-828C-C5FA32CA037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1812" y="1621971"/>
            <a:ext cx="4767688" cy="3181995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090251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p14="http://schemas.microsoft.com/office/powerpoint/2010/main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329971-B4B3-4A32-8EC4-2AF7AFE71AA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300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329971-B4B3-4A32-8EC4-2AF7AFE71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F79ABC-A453-4586-B9DE-322902C956B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en-GB" sz="2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C63AA3-5A40-4BB0-8B2E-5BD2BEE7A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2" y="1469571"/>
            <a:ext cx="10588625" cy="449714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endParaRPr lang="nb-NO" sz="2000" b="1" dirty="0"/>
          </a:p>
          <a:p>
            <a:pPr marL="0" indent="0">
              <a:buNone/>
            </a:pPr>
            <a:endParaRPr lang="nb-NO" sz="1600" dirty="0">
              <a:solidFill>
                <a:schemeClr val="tx2"/>
              </a:solidFill>
            </a:endParaRPr>
          </a:p>
          <a:p>
            <a:pPr marL="0" indent="0">
              <a:buNone/>
            </a:pPr>
            <a:r>
              <a:rPr lang="nb-NO" sz="1600" dirty="0">
                <a:solidFill>
                  <a:schemeClr val="tx2"/>
                </a:solidFill>
              </a:rPr>
              <a:t>	</a:t>
            </a:r>
            <a:endParaRPr lang="nb-NO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49C91E-6BAC-4D66-BA74-046603C54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3" y="281256"/>
            <a:ext cx="10588624" cy="415430"/>
          </a:xfrm>
        </p:spPr>
        <p:txBody>
          <a:bodyPr/>
          <a:lstStyle/>
          <a:p>
            <a:r>
              <a:rPr lang="en-GB" dirty="0" err="1"/>
              <a:t>ORGAnisering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praktiserin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avtalen</a:t>
            </a:r>
            <a:r>
              <a:rPr lang="en-GB" dirty="0"/>
              <a:t> (del 2)</a:t>
            </a:r>
          </a:p>
        </p:txBody>
      </p:sp>
      <p:pic>
        <p:nvPicPr>
          <p:cNvPr id="7" name="Picture 2" descr="C:\Users\idag\AppData\Local\Microsoft\Windows\Temporary Internet Files\Content.Outlook\JZ7YCCZ4\fou-rapportlogo (2).jpg">
            <a:extLst>
              <a:ext uri="{FF2B5EF4-FFF2-40B4-BE49-F238E27FC236}">
                <a16:creationId xmlns:a16="http://schemas.microsoft.com/office/drawing/2014/main" id="{EC38FFCA-3386-422A-9C15-6CFE47CAF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164" y="5966711"/>
            <a:ext cx="1091256" cy="4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15FE6-6208-4AD4-A291-D80130254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8544" y="6578332"/>
            <a:ext cx="8143876" cy="155656"/>
          </a:xfrm>
        </p:spPr>
        <p:txBody>
          <a:bodyPr/>
          <a:lstStyle/>
          <a:p>
            <a:pPr algn="r"/>
            <a:r>
              <a:rPr lang="en-GB" dirty="0"/>
              <a:t>KS </a:t>
            </a:r>
            <a:r>
              <a:rPr lang="en-GB" dirty="0" err="1"/>
              <a:t>FoU-prosjekt</a:t>
            </a:r>
            <a:r>
              <a:rPr lang="en-GB" dirty="0"/>
              <a:t> 184005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38560508-6E9D-455D-9046-3371749F522F}"/>
              </a:ext>
            </a:extLst>
          </p:cNvPr>
          <p:cNvSpPr txBox="1">
            <a:spLocks/>
          </p:cNvSpPr>
          <p:nvPr/>
        </p:nvSpPr>
        <p:spPr bwMode="auto">
          <a:xfrm>
            <a:off x="950913" y="1621971"/>
            <a:ext cx="5233320" cy="4497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52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Verdana" pitchFamily="34" charset="0"/>
              </a:defRPr>
            </a:lvl1pPr>
            <a:lvl2pPr marL="6480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6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2pPr>
            <a:lvl3pPr marL="979200" indent="-25200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Verdana" pitchFamily="34" charset="0"/>
              <a:buChar char="•"/>
              <a:defRPr sz="14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3pPr>
            <a:lvl4pPr marL="0" indent="0" algn="l" defTabSz="457189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kern="1200" spc="-5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4pPr>
            <a:lvl5pPr marL="0" indent="0" algn="l" defTabSz="457189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4800" b="1" kern="1200" cap="all" spc="-100" baseline="0">
                <a:solidFill>
                  <a:schemeClr val="tx1"/>
                </a:solidFill>
                <a:latin typeface="Verdana"/>
                <a:ea typeface="Verdana" pitchFamily="34" charset="0"/>
                <a:cs typeface="+mn-cs"/>
              </a:defRPr>
            </a:lvl5pPr>
            <a:lvl6pPr marL="0" indent="0" algn="l" defTabSz="457189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800" b="1" kern="1200" cap="all" spc="-5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0" indent="0" algn="l" defTabSz="457189" rtl="0" eaLnBrk="1" latinLnBrk="0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800" i="0" kern="1200" spc="-5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7pPr>
            <a:lvl8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rabi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52000" algn="l" defTabSz="457189" rtl="0" eaLnBrk="1" latinLnBrk="0" hangingPunct="1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+mj-lt"/>
              <a:buAutoNum type="alphaUcPeriod"/>
              <a:defRPr sz="1600" kern="1200" spc="-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Flertallet av barnehagestyrerne (75 prosent) oppgir at pedagogisk personale får fire timer plantid i uka i gjennomsnitt, mens resten oppgir at pedagogene får mer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Det er vanligst at pedagoger og barnehagelærere har plantid 1-2 timer om gangen, 2-5 dager i uka. En tredjedel av barnehagestyrerne oppgir dett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Plantiden brukes først og fremst til pedagogisk planlegging og til å forberede foreldresamtaler og dokumentasj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Flertallet av styrerne (85 prosent) oppgir at det pedagogiske personalet tar ut plantiden i barnehagen, halvparten personalet også tar ut deler av plantiden sin hjemme eller utenfor barnehage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nb-NO" sz="1400" dirty="0"/>
              <a:t>Den store majoriteten av barnehagestyrerne mener det er svært viktig med samarbeid mellom pedagoger og barnehagelærere i plantiden</a:t>
            </a:r>
            <a:endParaRPr lang="en-GB" sz="1600" dirty="0"/>
          </a:p>
        </p:txBody>
      </p:sp>
      <p:pic>
        <p:nvPicPr>
          <p:cNvPr id="10" name="Picture 9" descr="A picture containing person, outdoor, bubble, object&#10;&#10;Description automatically generated">
            <a:extLst>
              <a:ext uri="{FF2B5EF4-FFF2-40B4-BE49-F238E27FC236}">
                <a16:creationId xmlns:a16="http://schemas.microsoft.com/office/drawing/2014/main" id="{7988D476-5A88-4B8A-8EC3-F64FC8BCD0F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307660" y="1923678"/>
            <a:ext cx="4956049" cy="2950029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561348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p14="http://schemas.microsoft.com/office/powerpoint/2010/main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329971-B4B3-4A32-8EC4-2AF7AFE71AAC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10367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329971-B4B3-4A32-8EC4-2AF7AFE71A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8F79ABC-A453-4586-B9DE-322902C956B1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Aft>
                <a:spcPct val="0"/>
              </a:spcAft>
            </a:pPr>
            <a:endParaRPr lang="en-GB" sz="2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C63AA3-5A40-4BB0-8B2E-5BD2BEE7A2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8512" y="1234523"/>
            <a:ext cx="10588625" cy="4497140"/>
          </a:xfrm>
        </p:spPr>
        <p:txBody>
          <a:bodyPr/>
          <a:lstStyle/>
          <a:p>
            <a:r>
              <a:rPr lang="nb-NO" sz="1400" dirty="0"/>
              <a:t>Majoriteten av styrerne oppgir at barnegruppen er i lek med gjenværende personale i egen avdeling når pedagogisk personale har plantid</a:t>
            </a:r>
          </a:p>
          <a:p>
            <a:r>
              <a:rPr lang="nb-NO" sz="1400" dirty="0"/>
              <a:t>De færreste styrerne setter inn vikar under plantiden i barnehagen. 59 prosent av styrerne oppgir at de aldri gjør dette</a:t>
            </a:r>
          </a:p>
          <a:p>
            <a:r>
              <a:rPr lang="nb-NO" sz="1400" dirty="0"/>
              <a:t>Omtrent halvparten av styrerne og eierne mener at tiden pedagogene er borte fra avdelingen som følge av plantid går utover barna</a:t>
            </a:r>
          </a:p>
          <a:p>
            <a:r>
              <a:rPr lang="nb-NO" sz="1400" dirty="0"/>
              <a:t>Cirka en tredjedel av styrerne og eierne mener at tiden pedagogisk personell er borte fra avdelingen som følge av plantiden går ut over øvrig bemanning</a:t>
            </a:r>
          </a:p>
          <a:p>
            <a:r>
              <a:rPr lang="nb-NO" sz="1400" dirty="0"/>
              <a:t>Om lag halvparten av styrerne og eierne mener plantiden bidrar til at rammeplanen oppfylles på en god måte</a:t>
            </a:r>
          </a:p>
          <a:p>
            <a:r>
              <a:rPr lang="nb-NO" sz="1400" dirty="0"/>
              <a:t>En tredjedel av styrerne er helt enige i at mer plantid enn dagens krav til minst fire timer vil gå utover kvaliteten på barnehagetilbudet</a:t>
            </a:r>
          </a:p>
          <a:p>
            <a:r>
              <a:rPr lang="nb-NO" sz="1400" dirty="0"/>
              <a:t>Flere av styrerne (56 prosent) og eierne (70 prosent) mener at SFS 2201 er et godt virkemiddel for å bidra til kvalitet i barnehagetilbudet slik avtalen er i dag</a:t>
            </a:r>
          </a:p>
          <a:p>
            <a:r>
              <a:rPr lang="nb-NO" sz="1400" dirty="0"/>
              <a:t>Svært mange styrere (81 prosent) er fornøyd med hvordan de organiserer og praktiserer plantiden i egen barnehage </a:t>
            </a:r>
          </a:p>
          <a:p>
            <a:r>
              <a:rPr lang="nb-NO" sz="1400" dirty="0"/>
              <a:t>Halvparten av eierne er i stor grad fornøyd med SFS 2201 slik avtalen er i dag</a:t>
            </a:r>
          </a:p>
          <a:p>
            <a:endParaRPr lang="nb-NO" sz="1600" dirty="0"/>
          </a:p>
          <a:p>
            <a:pPr marL="0" indent="0">
              <a:buNone/>
            </a:pPr>
            <a:r>
              <a:rPr lang="nb-NO" sz="1600" dirty="0">
                <a:solidFill>
                  <a:schemeClr val="tx2"/>
                </a:solidFill>
              </a:rPr>
              <a:t>	</a:t>
            </a:r>
            <a:endParaRPr lang="nb-NO" dirty="0"/>
          </a:p>
          <a:p>
            <a:pPr marL="0" indent="0">
              <a:buNone/>
            </a:pPr>
            <a:endParaRPr lang="nb-NO" b="1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749C91E-6BAC-4D66-BA74-046603C544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513" y="281256"/>
            <a:ext cx="10588624" cy="415430"/>
          </a:xfrm>
        </p:spPr>
        <p:txBody>
          <a:bodyPr/>
          <a:lstStyle/>
          <a:p>
            <a:r>
              <a:rPr lang="en-GB" dirty="0"/>
              <a:t>RESULTATER OG KONSEKVENSER</a:t>
            </a:r>
          </a:p>
        </p:txBody>
      </p:sp>
      <p:pic>
        <p:nvPicPr>
          <p:cNvPr id="7" name="Picture 2" descr="C:\Users\idag\AppData\Local\Microsoft\Windows\Temporary Internet Files\Content.Outlook\JZ7YCCZ4\fou-rapportlogo (2).jpg">
            <a:extLst>
              <a:ext uri="{FF2B5EF4-FFF2-40B4-BE49-F238E27FC236}">
                <a16:creationId xmlns:a16="http://schemas.microsoft.com/office/drawing/2014/main" id="{EC38FFCA-3386-422A-9C15-6CFE47CAFC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1164" y="5966711"/>
            <a:ext cx="1091256" cy="483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015FE6-6208-4AD4-A291-D80130254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8544" y="6578332"/>
            <a:ext cx="8143876" cy="155656"/>
          </a:xfrm>
        </p:spPr>
        <p:txBody>
          <a:bodyPr/>
          <a:lstStyle/>
          <a:p>
            <a:pPr algn="r"/>
            <a:r>
              <a:rPr lang="en-GB" dirty="0"/>
              <a:t>KS </a:t>
            </a:r>
            <a:r>
              <a:rPr lang="en-GB" dirty="0" err="1"/>
              <a:t>FoU-prosjekt</a:t>
            </a:r>
            <a:r>
              <a:rPr lang="en-GB" dirty="0"/>
              <a:t> 184005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6955705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 xmlns:a16="http://schemas.microsoft.com/office/drawing/2014/main" xmlns:p14="http://schemas.microsoft.com/office/powerpoint/2010/main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DNEW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1iRVmcRqGk4wJY._E_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4157009525460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1iRVmcRqGk4wJY._E_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4157009525460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1iRVmcRqGk4wJY._E_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4157009525460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zQO.mQtaD7p26cCDN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4157009525460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4157009525460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1iRVmcRqGk4wJY._E_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741570095254605"/>
</p:tagLst>
</file>

<file path=ppt/theme/theme1.xml><?xml version="1.0" encoding="utf-8"?>
<a:theme xmlns:a="http://schemas.openxmlformats.org/drawingml/2006/main" name="Blank">
  <a:themeElements>
    <a:clrScheme name="Ramboll">
      <a:dk1>
        <a:srgbClr val="333333"/>
      </a:dk1>
      <a:lt1>
        <a:srgbClr val="FFFFFF"/>
      </a:lt1>
      <a:dk2>
        <a:srgbClr val="009DF0"/>
      </a:dk2>
      <a:lt2>
        <a:srgbClr val="797766"/>
      </a:lt2>
      <a:accent1>
        <a:srgbClr val="ADDDFF"/>
      </a:accent1>
      <a:accent2>
        <a:srgbClr val="3AA551"/>
      </a:accent2>
      <a:accent3>
        <a:srgbClr val="A8D100"/>
      </a:accent3>
      <a:accent4>
        <a:srgbClr val="C40079"/>
      </a:accent4>
      <a:accent5>
        <a:srgbClr val="C63418"/>
      </a:accent5>
      <a:accent6>
        <a:srgbClr val="D0CFC9"/>
      </a:accent6>
      <a:hlink>
        <a:srgbClr val="009DF0"/>
      </a:hlink>
      <a:folHlink>
        <a:srgbClr val="ADDDFF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marR="0" algn="l" defTabSz="457200" rtl="0" eaLnBrk="0" fontAlgn="base" latinLnBrk="0" hangingPunct="0">
          <a:spcBef>
            <a:spcPct val="0"/>
          </a:spcBef>
          <a:buClrTx/>
          <a:buSzTx/>
          <a:tabLst/>
          <a:defRPr kumimoji="0" sz="1800" b="0" i="0" u="none" strike="noStrike" kern="120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Verdana"/>
            <a:ea typeface="Verdana" pitchFamily="34" charset="0"/>
            <a:cs typeface="Verdana" pitchFamily="34" charset="0"/>
          </a:defRPr>
        </a:defPPr>
      </a:lstStyle>
    </a:tx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  <a:extLst>
    <a:ext uri="{05A4C25C-085E-4340-85A3-A5531E510DB2}">
      <thm15:themeFamily xmlns:thm15="http://schemas.microsoft.com/office/thememl/2012/main" name="Ramboll Template.pptx" id="{18B1D9E1-3BFF-492D-AD3C-07E0527DBC54}" vid="{2725A123-54A8-4D51-A6DB-726BE0B36503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Ramboll">
      <a:dk1>
        <a:sysClr val="windowText" lastClr="000000"/>
      </a:dk1>
      <a:lt1>
        <a:sysClr val="window" lastClr="FFFFFF"/>
      </a:lt1>
      <a:dk2>
        <a:srgbClr val="009DE0"/>
      </a:dk2>
      <a:lt2>
        <a:srgbClr val="797766"/>
      </a:lt2>
      <a:accent1>
        <a:srgbClr val="A7D3F5"/>
      </a:accent1>
      <a:accent2>
        <a:srgbClr val="5CA551"/>
      </a:accent2>
      <a:accent3>
        <a:srgbClr val="A1BF36"/>
      </a:accent3>
      <a:accent4>
        <a:srgbClr val="C40079"/>
      </a:accent4>
      <a:accent5>
        <a:srgbClr val="C63418"/>
      </a:accent5>
      <a:accent6>
        <a:srgbClr val="D0CFC5"/>
      </a:accent6>
      <a:hlink>
        <a:srgbClr val="0000FF"/>
      </a:hlink>
      <a:folHlink>
        <a:srgbClr val="800080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</a:theme>
</file>

<file path=ppt/theme/theme4.xml><?xml version="1.0" encoding="utf-8"?>
<a:theme xmlns:a="http://schemas.openxmlformats.org/drawingml/2006/main" name="Office Theme">
  <a:themeElements>
    <a:clrScheme name="Ramboll">
      <a:dk1>
        <a:sysClr val="windowText" lastClr="000000"/>
      </a:dk1>
      <a:lt1>
        <a:sysClr val="window" lastClr="FFFFFF"/>
      </a:lt1>
      <a:dk2>
        <a:srgbClr val="009DE0"/>
      </a:dk2>
      <a:lt2>
        <a:srgbClr val="797766"/>
      </a:lt2>
      <a:accent1>
        <a:srgbClr val="A7D3F5"/>
      </a:accent1>
      <a:accent2>
        <a:srgbClr val="5CA551"/>
      </a:accent2>
      <a:accent3>
        <a:srgbClr val="A1BF36"/>
      </a:accent3>
      <a:accent4>
        <a:srgbClr val="C40079"/>
      </a:accent4>
      <a:accent5>
        <a:srgbClr val="C63418"/>
      </a:accent5>
      <a:accent6>
        <a:srgbClr val="D0CFC5"/>
      </a:accent6>
      <a:hlink>
        <a:srgbClr val="0000FF"/>
      </a:hlink>
      <a:folHlink>
        <a:srgbClr val="800080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Black">
      <a:srgbClr val="333333"/>
    </a:custClr>
    <a:custClr name="Dark Grey">
      <a:srgbClr val="797766"/>
    </a:custClr>
    <a:custClr name="Cyan">
      <a:srgbClr val="009DF0"/>
    </a:custClr>
    <a:custClr name="Light Blue">
      <a:srgbClr val="ADDDFF"/>
    </a:custClr>
    <a:custClr name="Green">
      <a:srgbClr val="3AA551"/>
    </a:custClr>
    <a:custClr name="Lime Green">
      <a:srgbClr val="A8D100"/>
    </a:custClr>
    <a:custClr name="Magenta">
      <a:srgbClr val="C40079"/>
    </a:custClr>
    <a:custClr name="Warm Red">
      <a:srgbClr val="C63418"/>
    </a:custClr>
    <a:custClr name="Light Grey">
      <a:srgbClr val="D0CFC9"/>
    </a:custClr>
    <a:custClr name="Dark Blue">
      <a:srgbClr val="006FAD"/>
    </a:custClr>
    <a:custClr name="White">
      <a:srgbClr val="FFFFFF"/>
    </a:custClr>
    <a:custClr name="65% Dark Grey">
      <a:srgbClr val="A8A69B"/>
    </a:custClr>
    <a:custClr name="65% Cyan">
      <a:srgbClr val="59BFF5"/>
    </a:custClr>
    <a:custClr name="65% Light Blue">
      <a:srgbClr val="CAE9FF"/>
    </a:custClr>
    <a:custClr name="65% Green">
      <a:srgbClr val="7FC48E"/>
    </a:custClr>
    <a:custClr name="65% Lime Green">
      <a:srgbClr val="C6E159"/>
    </a:custClr>
    <a:custClr name="65% Magenta">
      <a:srgbClr val="D959A8"/>
    </a:custClr>
    <a:custClr name="65% Warm Red">
      <a:srgbClr val="DA7B69"/>
    </a:custClr>
    <a:custClr name="65% Light Grey">
      <a:srgbClr val="E0E0DC"/>
    </a:custClr>
    <a:custClr name="65% Dark Blue">
      <a:srgbClr val="59A1CA"/>
    </a:custClr>
    <a:custClr name="White">
      <a:srgbClr val="FFFFFF"/>
    </a:custClr>
    <a:custClr name="30% Dark Grey">
      <a:srgbClr val="D7D6D1"/>
    </a:custClr>
    <a:custClr name="30% Cyan">
      <a:srgbClr val="B2E1FA"/>
    </a:custClr>
    <a:custClr name="30% Light Blue">
      <a:srgbClr val="E6F5FF"/>
    </a:custClr>
    <a:custClr name="30% Green">
      <a:srgbClr val="C4E4CA"/>
    </a:custClr>
    <a:custClr name="30% Lime Green">
      <a:srgbClr val="E5F1B2"/>
    </a:custClr>
    <a:custClr name="30% Magenta">
      <a:srgbClr val="EDB2D7"/>
    </a:custClr>
    <a:custClr name="30% Warm Red">
      <a:srgbClr val="EEC2B9"/>
    </a:custClr>
    <a:custClr name="30% Light Grey">
      <a:srgbClr val="F6F6F4"/>
    </a:custClr>
    <a:custClr name="30% Dark Blue">
      <a:srgbClr val="B2D4E6"/>
    </a:custClr>
  </a:custClr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4ABBF43-1DE5-401E-9E72-69994FE7A2B3}">
  <we:reference id="wa104380278" version="1.0.0.6" store="en-US" storeType="OMEX"/>
  <we:alternateReferences>
    <we:reference id="WA104380278" version="1.0.0.6" store="WA104380278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sjektrapport" ma:contentTypeID="0x010100C466DCB15B7C4D46B76A8E26AA95A520008C28BEAA5180C049B11426B3DCE59379" ma:contentTypeVersion="0" ma:contentTypeDescription="" ma:contentTypeScope="" ma:versionID="26d3c826638721612450fc6f53d6f8b1">
  <xsd:schema xmlns:xsd="http://www.w3.org/2001/XMLSchema" xmlns:xs="http://www.w3.org/2001/XMLSchema" xmlns:p="http://schemas.microsoft.com/office/2006/metadata/properties" xmlns:ns1="http://schemas.microsoft.com/sharepoint/v3" xmlns:ns2="a0c403bc-df03-43c8-915b-d2d6e5c89d57" targetNamespace="http://schemas.microsoft.com/office/2006/metadata/properties" ma:root="true" ma:fieldsID="f5540488cbf06003735da23cb205329d" ns1:_="" ns2:_="">
    <xsd:import namespace="http://schemas.microsoft.com/sharepoint/v3"/>
    <xsd:import namespace="a0c403bc-df03-43c8-915b-d2d6e5c89d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ReportDescription" minOccurs="0"/>
                <xsd:element ref="ns2:Rapportforfatter" minOccurs="0"/>
                <xsd:element ref="ns2:h63eb6bf2e3d4f93aa1ddf743b668c17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eportDescription" ma:index="11" nillable="true" ma:displayName="Rapportbeskrivelse" ma:description="En beskrivelse av innholdet i rapporten" ma:internalName="Report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403bc-df03-43c8-915b-d2d6e5c89d5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Fast ID" ma:description="Behold IDen ved tillegging." ma:hidden="true" ma:internalName="_dlc_DocIdPersistId" ma:readOnly="true">
      <xsd:simpleType>
        <xsd:restriction base="dms:Boolean"/>
      </xsd:simpleType>
    </xsd:element>
    <xsd:element name="Rapportforfatter" ma:index="12" nillable="true" ma:displayName="Rapportforfatter" ma:internalName="Rapportforfatter">
      <xsd:simpleType>
        <xsd:restriction base="dms:Text">
          <xsd:maxLength value="255"/>
        </xsd:restriction>
      </xsd:simpleType>
    </xsd:element>
    <xsd:element name="h63eb6bf2e3d4f93aa1ddf743b668c17" ma:index="13" nillable="true" ma:taxonomy="true" ma:internalName="h63eb6bf2e3d4f93aa1ddf743b668c17" ma:taxonomyFieldName="Dokumentkategori" ma:displayName="Dokumentkategori" ma:default="" ma:fieldId="{163eb6bf-2e3d-4f93-aa1d-df743b668c17}" ma:sspId="723dea4e-3c3b-4542-8cf3-09c21c94bb66" ma:termSetId="115804ee-8a7e-44c7-8782-636c4cc4e93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4" nillable="true" ma:displayName="Global taksonomikolonne" ma:hidden="true" ma:list="{0619e880-d3e8-4a0a-ac1c-51547fa4f40c}" ma:internalName="TaxCatchAll" ma:showField="CatchAllData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Global taksonomikolonne1" ma:hidden="true" ma:list="{0619e880-d3e8-4a0a-ac1c-51547fa4f40c}" ma:internalName="TaxCatchAllLabel" ma:readOnly="true" ma:showField="CatchAllDataLabel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63eb6bf2e3d4f93aa1ddf743b668c17 xmlns="a0c403bc-df03-43c8-915b-d2d6e5c89d57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mmendrag</TermName>
          <TermId xmlns="http://schemas.microsoft.com/office/infopath/2007/PartnerControls">06fd0364-2305-480a-8ec8-1cae03112a06</TermId>
        </TermInfo>
      </Terms>
    </h63eb6bf2e3d4f93aa1ddf743b668c17>
    <Rapportforfatter xmlns="a0c403bc-df03-43c8-915b-d2d6e5c89d57" xsi:nil="true"/>
    <ReportDescription xmlns="http://schemas.microsoft.com/sharepoint/v3" xsi:nil="true"/>
    <TaxCatchAll xmlns="a0c403bc-df03-43c8-915b-d2d6e5c89d57">
      <Value>109</Value>
    </TaxCatchAll>
    <_dlc_DocId xmlns="a0c403bc-df03-43c8-915b-d2d6e5c89d57">DMFW2D44QQMK-284234000-2</_dlc_DocId>
    <_dlc_DocIdUrl xmlns="a0c403bc-df03-43c8-915b-d2d6e5c89d57">
      <Url>http://fou.ks.no/prosjekter/184005/_layouts/15/DocIdRedir.aspx?ID=DMFW2D44QQMK-284234000-2</Url>
      <Description>DMFW2D44QQMK-284234000-2</Description>
    </_dlc_DocIdUrl>
  </documentManagement>
</p:properties>
</file>

<file path=customXml/itemProps1.xml><?xml version="1.0" encoding="utf-8"?>
<ds:datastoreItem xmlns:ds="http://schemas.openxmlformats.org/officeDocument/2006/customXml" ds:itemID="{D8D6075A-ED49-49DF-8795-D52D46FC7B7B}"/>
</file>

<file path=customXml/itemProps2.xml><?xml version="1.0" encoding="utf-8"?>
<ds:datastoreItem xmlns:ds="http://schemas.openxmlformats.org/officeDocument/2006/customXml" ds:itemID="{D43BD726-A633-4CA3-9A7E-5E87C5FB3960}"/>
</file>

<file path=customXml/itemProps3.xml><?xml version="1.0" encoding="utf-8"?>
<ds:datastoreItem xmlns:ds="http://schemas.openxmlformats.org/officeDocument/2006/customXml" ds:itemID="{61FFEA2F-8D53-4199-91D0-E218C63877B2}"/>
</file>

<file path=customXml/itemProps4.xml><?xml version="1.0" encoding="utf-8"?>
<ds:datastoreItem xmlns:ds="http://schemas.openxmlformats.org/officeDocument/2006/customXml" ds:itemID="{E82DEA5A-5255-4EB0-AE1E-85974B24BB11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8</TotalTime>
  <Words>682</Words>
  <Application>Microsoft Office PowerPoint</Application>
  <PresentationFormat>Custom</PresentationFormat>
  <Paragraphs>69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Calibri Light</vt:lpstr>
      <vt:lpstr>Verdana</vt:lpstr>
      <vt:lpstr>Blank</vt:lpstr>
      <vt:lpstr>Custom Design</vt:lpstr>
      <vt:lpstr>think-cell Slide</vt:lpstr>
      <vt:lpstr>KS FOU-PROSJEKT 184005 </vt:lpstr>
      <vt:lpstr>Bakgrunn for Fou-prosjektet</vt:lpstr>
      <vt:lpstr>Formål og metodisk tilnærming</vt:lpstr>
      <vt:lpstr>ORGAnisering og praktisering av avtalen (del 1)</vt:lpstr>
      <vt:lpstr>ORGAnisering og praktisering av avtalen (del 2)</vt:lpstr>
      <vt:lpstr>RESULTATER OG KONSEKVENSER</vt:lpstr>
    </vt:vector>
  </TitlesOfParts>
  <Company>Rambo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da Gram</dc:creator>
  <cp:lastModifiedBy>Ingrid Paaske Gulbrandsen</cp:lastModifiedBy>
  <cp:revision>46</cp:revision>
  <dcterms:created xsi:type="dcterms:W3CDTF">2018-11-29T11:16:08Z</dcterms:created>
  <dcterms:modified xsi:type="dcterms:W3CDTF">2019-08-30T18:04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 by">
    <vt:lpwstr>www.skabelondesign.dk</vt:lpwstr>
  </property>
  <property fmtid="{D5CDD505-2E9C-101B-9397-08002B2CF9AE}" pid="3" name="DocumentInfoFinished">
    <vt:lpwstr>True</vt:lpwstr>
  </property>
  <property fmtid="{D5CDD505-2E9C-101B-9397-08002B2CF9AE}" pid="4" name="TemplafyTimeStamp">
    <vt:lpwstr>2018-10-03T09:50:09.1611095Z</vt:lpwstr>
  </property>
  <property fmtid="{D5CDD505-2E9C-101B-9397-08002B2CF9AE}" pid="5" name="ContentTypeId">
    <vt:lpwstr>0x010100C466DCB15B7C4D46B76A8E26AA95A520008C28BEAA5180C049B11426B3DCE59379</vt:lpwstr>
  </property>
  <property fmtid="{D5CDD505-2E9C-101B-9397-08002B2CF9AE}" pid="6" name="_dlc_DocIdItemGuid">
    <vt:lpwstr>8ca6e642-f5eb-4c31-a87b-cbb416069f76</vt:lpwstr>
  </property>
  <property fmtid="{D5CDD505-2E9C-101B-9397-08002B2CF9AE}" pid="7" name="Dokumentkategori">
    <vt:lpwstr>109;#Sammendrag|06fd0364-2305-480a-8ec8-1cae03112a06</vt:lpwstr>
  </property>
</Properties>
</file>